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305" r:id="rId2"/>
    <p:sldId id="281" r:id="rId3"/>
    <p:sldId id="308" r:id="rId4"/>
    <p:sldId id="313" r:id="rId5"/>
    <p:sldId id="309" r:id="rId6"/>
    <p:sldId id="311" r:id="rId7"/>
    <p:sldId id="262" r:id="rId8"/>
    <p:sldId id="307" r:id="rId9"/>
  </p:sldIdLst>
  <p:sldSz cx="12192000" cy="6858000"/>
  <p:notesSz cx="6888163" cy="100203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2FC4A18D-F1B6-4C74-8930-2F96FAC20157}">
          <p14:sldIdLst>
            <p14:sldId id="305"/>
            <p14:sldId id="281"/>
            <p14:sldId id="308"/>
            <p14:sldId id="313"/>
            <p14:sldId id="309"/>
            <p14:sldId id="311"/>
          </p14:sldIdLst>
        </p14:section>
        <p14:section name="Slidebibliotek" id="{19A36375-654E-43E0-98A0-E068AB2D4CD1}">
          <p14:sldIdLst>
            <p14:sldId id="262"/>
            <p14:sldId id="3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E3A7C41-47CF-4BFD-8C66-533AAAACACA8}" v="511" dt="2023-02-28T07:05:48.656"/>
  </p1510:revLst>
</p1510:revInfo>
</file>

<file path=ppt/tableStyles.xml><?xml version="1.0" encoding="utf-8"?>
<a:tblStyleLst xmlns:a="http://schemas.openxmlformats.org/drawingml/2006/main" def="{1E171933-4619-4E11-9A3F-F7608DF75F80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llemlayout 1 - Markering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71" autoAdjust="0"/>
  </p:normalViewPr>
  <p:slideViewPr>
    <p:cSldViewPr snapToGrid="0" showGuides="1">
      <p:cViewPr>
        <p:scale>
          <a:sx n="80" d="100"/>
          <a:sy n="80" d="100"/>
        </p:scale>
        <p:origin x="1734" y="84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2"/>
        <a:sy n="1" d="2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926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bias Brammer" userId="80a1e1bd-3b82-47a5-b259-da62a397db92" providerId="ADAL" clId="{1E3A7C41-47CF-4BFD-8C66-533AAAACACA8}"/>
    <pc:docChg chg="undo custSel addSld delSld modSld sldOrd modMainMaster modSection replTag modNotesMaster">
      <pc:chgData name="Tobias Brammer" userId="80a1e1bd-3b82-47a5-b259-da62a397db92" providerId="ADAL" clId="{1E3A7C41-47CF-4BFD-8C66-533AAAACACA8}" dt="2023-03-02T07:08:49.754" v="7663" actId="20577"/>
      <pc:docMkLst>
        <pc:docMk/>
      </pc:docMkLst>
      <pc:sldChg chg="delSp modSp mod ord modNotes">
        <pc:chgData name="Tobias Brammer" userId="80a1e1bd-3b82-47a5-b259-da62a397db92" providerId="ADAL" clId="{1E3A7C41-47CF-4BFD-8C66-533AAAACACA8}" dt="2023-02-28T05:57:37.827" v="1878" actId="1076"/>
        <pc:sldMkLst>
          <pc:docMk/>
          <pc:sldMk cId="1005211075" sldId="262"/>
        </pc:sldMkLst>
        <pc:spChg chg="mod">
          <ac:chgData name="Tobias Brammer" userId="80a1e1bd-3b82-47a5-b259-da62a397db92" providerId="ADAL" clId="{1E3A7C41-47CF-4BFD-8C66-533AAAACACA8}" dt="2023-02-28T05:57:37.396" v="1586" actId="948"/>
          <ac:spMkLst>
            <pc:docMk/>
            <pc:sldMk cId="1005211075" sldId="262"/>
            <ac:spMk id="2" creationId="{2A4596F9-FF12-4BF0-8843-C701E1DB0BAB}"/>
          </ac:spMkLst>
        </pc:spChg>
        <pc:spChg chg="del mod modVis">
          <ac:chgData name="Tobias Brammer" userId="80a1e1bd-3b82-47a5-b259-da62a397db92" providerId="ADAL" clId="{1E3A7C41-47CF-4BFD-8C66-533AAAACACA8}" dt="2023-02-28T05:57:37.796" v="1870" actId="478"/>
          <ac:spMkLst>
            <pc:docMk/>
            <pc:sldMk cId="1005211075" sldId="262"/>
            <ac:spMk id="3" creationId="{6D139B86-1881-A8BB-D7B5-BABBA0505B95}"/>
          </ac:spMkLst>
        </pc:spChg>
        <pc:spChg chg="mod">
          <ac:chgData name="Tobias Brammer" userId="80a1e1bd-3b82-47a5-b259-da62a397db92" providerId="ADAL" clId="{1E3A7C41-47CF-4BFD-8C66-533AAAACACA8}" dt="2023-02-28T05:57:36.268" v="576" actId="20577"/>
          <ac:spMkLst>
            <pc:docMk/>
            <pc:sldMk cId="1005211075" sldId="262"/>
            <ac:spMk id="8" creationId="{F97827C5-D366-43A9-BC56-60449466C60F}"/>
          </ac:spMkLst>
        </pc:spChg>
        <pc:graphicFrameChg chg="mod ord modVis replST">
          <ac:chgData name="Tobias Brammer" userId="80a1e1bd-3b82-47a5-b259-da62a397db92" providerId="ADAL" clId="{1E3A7C41-47CF-4BFD-8C66-533AAAACACA8}" dt="2023-02-28T05:57:37.827" v="1878" actId="1076"/>
          <ac:graphicFrameMkLst>
            <pc:docMk/>
            <pc:sldMk cId="1005211075" sldId="262"/>
            <ac:graphicFrameMk id="4" creationId="{7EDD2181-28F2-62F9-AD4A-846375F1E999}"/>
          </ac:graphicFrameMkLst>
        </pc:graphicFrameChg>
      </pc:sldChg>
      <pc:sldChg chg="addSp delSp modSp del mod ord modNotes">
        <pc:chgData name="Tobias Brammer" userId="80a1e1bd-3b82-47a5-b259-da62a397db92" providerId="ADAL" clId="{1E3A7C41-47CF-4BFD-8C66-533AAAACACA8}" dt="2023-02-28T07:04:06.108" v="6348" actId="2696"/>
        <pc:sldMkLst>
          <pc:docMk/>
          <pc:sldMk cId="2416407837" sldId="270"/>
        </pc:sldMkLst>
        <pc:spChg chg="mod">
          <ac:chgData name="Tobias Brammer" userId="80a1e1bd-3b82-47a5-b259-da62a397db92" providerId="ADAL" clId="{1E3A7C41-47CF-4BFD-8C66-533AAAACACA8}" dt="2023-02-28T06:09:18.946" v="3422" actId="20577"/>
          <ac:spMkLst>
            <pc:docMk/>
            <pc:sldMk cId="2416407837" sldId="270"/>
            <ac:spMk id="2" creationId="{DB8BCC98-68C8-4EB4-853E-B372C26EBCFF}"/>
          </ac:spMkLst>
        </pc:spChg>
        <pc:spChg chg="del mod modVis">
          <ac:chgData name="Tobias Brammer" userId="80a1e1bd-3b82-47a5-b259-da62a397db92" providerId="ADAL" clId="{1E3A7C41-47CF-4BFD-8C66-533AAAACACA8}" dt="2023-02-28T05:57:37.780" v="1860" actId="478"/>
          <ac:spMkLst>
            <pc:docMk/>
            <pc:sldMk cId="2416407837" sldId="270"/>
            <ac:spMk id="3" creationId="{3E029A14-FE81-B591-2A18-9B69301BB320}"/>
          </ac:spMkLst>
        </pc:spChg>
        <pc:spChg chg="del">
          <ac:chgData name="Tobias Brammer" userId="80a1e1bd-3b82-47a5-b259-da62a397db92" providerId="ADAL" clId="{1E3A7C41-47CF-4BFD-8C66-533AAAACACA8}" dt="2023-02-21T13:33:10.631" v="31" actId="478"/>
          <ac:spMkLst>
            <pc:docMk/>
            <pc:sldMk cId="2416407837" sldId="270"/>
            <ac:spMk id="4" creationId="{52BB0FB5-3FC8-4D76-9569-B90FAFC16986}"/>
          </ac:spMkLst>
        </pc:spChg>
        <pc:spChg chg="add del mod">
          <ac:chgData name="Tobias Brammer" userId="80a1e1bd-3b82-47a5-b259-da62a397db92" providerId="ADAL" clId="{1E3A7C41-47CF-4BFD-8C66-533AAAACACA8}" dt="2023-02-28T06:09:19.479" v="3426"/>
          <ac:spMkLst>
            <pc:docMk/>
            <pc:sldMk cId="2416407837" sldId="270"/>
            <ac:spMk id="5" creationId="{6AA27CE0-BD28-73B1-1F94-7BFE83D4E410}"/>
          </ac:spMkLst>
        </pc:spChg>
        <pc:spChg chg="mod">
          <ac:chgData name="Tobias Brammer" userId="80a1e1bd-3b82-47a5-b259-da62a397db92" providerId="ADAL" clId="{1E3A7C41-47CF-4BFD-8C66-533AAAACACA8}" dt="2023-02-28T05:57:36.284" v="586" actId="947"/>
          <ac:spMkLst>
            <pc:docMk/>
            <pc:sldMk cId="2416407837" sldId="270"/>
            <ac:spMk id="6" creationId="{C946590A-DCFA-480E-9973-032781667CFD}"/>
          </ac:spMkLst>
        </pc:spChg>
        <pc:spChg chg="mod">
          <ac:chgData name="Tobias Brammer" userId="80a1e1bd-3b82-47a5-b259-da62a397db92" providerId="ADAL" clId="{1E3A7C41-47CF-4BFD-8C66-533AAAACACA8}" dt="2023-02-28T05:57:36.284" v="588" actId="947"/>
          <ac:spMkLst>
            <pc:docMk/>
            <pc:sldMk cId="2416407837" sldId="270"/>
            <ac:spMk id="7" creationId="{BB313780-1FD1-47D9-8FAE-3FEDD5BED7B1}"/>
          </ac:spMkLst>
        </pc:spChg>
        <pc:spChg chg="mod">
          <ac:chgData name="Tobias Brammer" userId="80a1e1bd-3b82-47a5-b259-da62a397db92" providerId="ADAL" clId="{1E3A7C41-47CF-4BFD-8C66-533AAAACACA8}" dt="2023-02-28T05:57:36.284" v="590" actId="947"/>
          <ac:spMkLst>
            <pc:docMk/>
            <pc:sldMk cId="2416407837" sldId="270"/>
            <ac:spMk id="8" creationId="{A26BD07B-B36A-46BD-8B09-8347D40D54E4}"/>
          </ac:spMkLst>
        </pc:spChg>
        <pc:spChg chg="mod">
          <ac:chgData name="Tobias Brammer" userId="80a1e1bd-3b82-47a5-b259-da62a397db92" providerId="ADAL" clId="{1E3A7C41-47CF-4BFD-8C66-533AAAACACA8}" dt="2023-02-28T05:57:36.284" v="592" actId="947"/>
          <ac:spMkLst>
            <pc:docMk/>
            <pc:sldMk cId="2416407837" sldId="270"/>
            <ac:spMk id="9" creationId="{7A55C507-1CA4-403F-85AA-068A599400B3}"/>
          </ac:spMkLst>
        </pc:spChg>
        <pc:spChg chg="mod">
          <ac:chgData name="Tobias Brammer" userId="80a1e1bd-3b82-47a5-b259-da62a397db92" providerId="ADAL" clId="{1E3A7C41-47CF-4BFD-8C66-533AAAACACA8}" dt="2023-02-28T05:57:36.284" v="594" actId="947"/>
          <ac:spMkLst>
            <pc:docMk/>
            <pc:sldMk cId="2416407837" sldId="270"/>
            <ac:spMk id="10" creationId="{FCC3E6C0-5D07-41B1-BF2D-D07463968082}"/>
          </ac:spMkLst>
        </pc:spChg>
        <pc:spChg chg="mod">
          <ac:chgData name="Tobias Brammer" userId="80a1e1bd-3b82-47a5-b259-da62a397db92" providerId="ADAL" clId="{1E3A7C41-47CF-4BFD-8C66-533AAAACACA8}" dt="2023-02-28T05:57:36.284" v="596" actId="947"/>
          <ac:spMkLst>
            <pc:docMk/>
            <pc:sldMk cId="2416407837" sldId="270"/>
            <ac:spMk id="11" creationId="{F2D1ABE1-5DEA-4BC7-A383-C87624EBC8FE}"/>
          </ac:spMkLst>
        </pc:spChg>
        <pc:spChg chg="mod">
          <ac:chgData name="Tobias Brammer" userId="80a1e1bd-3b82-47a5-b259-da62a397db92" providerId="ADAL" clId="{1E3A7C41-47CF-4BFD-8C66-533AAAACACA8}" dt="2023-02-28T05:57:36.284" v="598" actId="947"/>
          <ac:spMkLst>
            <pc:docMk/>
            <pc:sldMk cId="2416407837" sldId="270"/>
            <ac:spMk id="12" creationId="{2E5DBFB2-6254-4D85-BA12-9421EF5CB27B}"/>
          </ac:spMkLst>
        </pc:spChg>
        <pc:spChg chg="mod">
          <ac:chgData name="Tobias Brammer" userId="80a1e1bd-3b82-47a5-b259-da62a397db92" providerId="ADAL" clId="{1E3A7C41-47CF-4BFD-8C66-533AAAACACA8}" dt="2023-02-28T05:57:36.284" v="600" actId="947"/>
          <ac:spMkLst>
            <pc:docMk/>
            <pc:sldMk cId="2416407837" sldId="270"/>
            <ac:spMk id="13" creationId="{E13D7B49-6DD3-43C3-9A2E-E2BA90A74A41}"/>
          </ac:spMkLst>
        </pc:spChg>
        <pc:graphicFrameChg chg="mod ord modVis replST">
          <ac:chgData name="Tobias Brammer" userId="80a1e1bd-3b82-47a5-b259-da62a397db92" providerId="ADAL" clId="{1E3A7C41-47CF-4BFD-8C66-533AAAACACA8}" dt="2023-02-28T06:09:19.479" v="3426"/>
          <ac:graphicFrameMkLst>
            <pc:docMk/>
            <pc:sldMk cId="2416407837" sldId="270"/>
            <ac:graphicFrameMk id="4" creationId="{DA4F5744-822E-272D-9EB9-E4CFFB864E67}"/>
          </ac:graphicFrameMkLst>
        </pc:graphicFrameChg>
      </pc:sldChg>
      <pc:sldChg chg="addSp delSp modSp mod ord modNotes">
        <pc:chgData name="Tobias Brammer" userId="80a1e1bd-3b82-47a5-b259-da62a397db92" providerId="ADAL" clId="{1E3A7C41-47CF-4BFD-8C66-533AAAACACA8}" dt="2023-02-28T07:05:37.784" v="6396" actId="20577"/>
        <pc:sldMkLst>
          <pc:docMk/>
          <pc:sldMk cId="2641621532" sldId="281"/>
        </pc:sldMkLst>
        <pc:spChg chg="mod">
          <ac:chgData name="Tobias Brammer" userId="80a1e1bd-3b82-47a5-b259-da62a397db92" providerId="ADAL" clId="{1E3A7C41-47CF-4BFD-8C66-533AAAACACA8}" dt="2023-02-28T05:57:38.397" v="1889" actId="948"/>
          <ac:spMkLst>
            <pc:docMk/>
            <pc:sldMk cId="2641621532" sldId="281"/>
            <ac:spMk id="2" creationId="{3C6F285B-6BE8-47BE-BAD4-8ACEEFC175A8}"/>
          </ac:spMkLst>
        </pc:spChg>
        <pc:spChg chg="del">
          <ac:chgData name="Tobias Brammer" userId="80a1e1bd-3b82-47a5-b259-da62a397db92" providerId="ADAL" clId="{1E3A7C41-47CF-4BFD-8C66-533AAAACACA8}" dt="2023-02-21T13:33:06.886" v="30" actId="478"/>
          <ac:spMkLst>
            <pc:docMk/>
            <pc:sldMk cId="2641621532" sldId="281"/>
            <ac:spMk id="4" creationId="{EBB902A7-6EFB-4DB5-B7D9-D27AE5B7B1F6}"/>
          </ac:spMkLst>
        </pc:spChg>
        <pc:spChg chg="mod">
          <ac:chgData name="Tobias Brammer" userId="80a1e1bd-3b82-47a5-b259-da62a397db92" providerId="ADAL" clId="{1E3A7C41-47CF-4BFD-8C66-533AAAACACA8}" dt="2023-02-28T05:57:36.253" v="548" actId="947"/>
          <ac:spMkLst>
            <pc:docMk/>
            <pc:sldMk cId="2641621532" sldId="281"/>
            <ac:spMk id="6" creationId="{CDC222EA-31E5-4543-973D-6351289EEE35}"/>
          </ac:spMkLst>
        </pc:spChg>
        <pc:spChg chg="mod">
          <ac:chgData name="Tobias Brammer" userId="80a1e1bd-3b82-47a5-b259-da62a397db92" providerId="ADAL" clId="{1E3A7C41-47CF-4BFD-8C66-533AAAACACA8}" dt="2023-02-28T05:57:36.253" v="550" actId="947"/>
          <ac:spMkLst>
            <pc:docMk/>
            <pc:sldMk cId="2641621532" sldId="281"/>
            <ac:spMk id="7" creationId="{F787AB7F-95DA-4686-8C4E-D8E93F97EFAD}"/>
          </ac:spMkLst>
        </pc:spChg>
        <pc:spChg chg="mod">
          <ac:chgData name="Tobias Brammer" userId="80a1e1bd-3b82-47a5-b259-da62a397db92" providerId="ADAL" clId="{1E3A7C41-47CF-4BFD-8C66-533AAAACACA8}" dt="2023-02-28T07:05:37.784" v="6396" actId="20577"/>
          <ac:spMkLst>
            <pc:docMk/>
            <pc:sldMk cId="2641621532" sldId="281"/>
            <ac:spMk id="8" creationId="{8E492FCB-C2C0-467D-A668-B1FD59DC4F32}"/>
          </ac:spMkLst>
        </pc:spChg>
        <pc:spChg chg="mod">
          <ac:chgData name="Tobias Brammer" userId="80a1e1bd-3b82-47a5-b259-da62a397db92" providerId="ADAL" clId="{1E3A7C41-47CF-4BFD-8C66-533AAAACACA8}" dt="2023-02-28T05:57:36.253" v="554" actId="947"/>
          <ac:spMkLst>
            <pc:docMk/>
            <pc:sldMk cId="2641621532" sldId="281"/>
            <ac:spMk id="9" creationId="{8140DF04-B4DC-4986-9C6D-DDE15FD1CA31}"/>
          </ac:spMkLst>
        </pc:spChg>
        <pc:spChg chg="mod">
          <ac:chgData name="Tobias Brammer" userId="80a1e1bd-3b82-47a5-b259-da62a397db92" providerId="ADAL" clId="{1E3A7C41-47CF-4BFD-8C66-533AAAACACA8}" dt="2023-02-28T06:07:37.581" v="3102" actId="20577"/>
          <ac:spMkLst>
            <pc:docMk/>
            <pc:sldMk cId="2641621532" sldId="281"/>
            <ac:spMk id="10" creationId="{CBA4467F-4AF6-4FDA-A3A1-6FFF686B5694}"/>
          </ac:spMkLst>
        </pc:spChg>
        <pc:spChg chg="mod">
          <ac:chgData name="Tobias Brammer" userId="80a1e1bd-3b82-47a5-b259-da62a397db92" providerId="ADAL" clId="{1E3A7C41-47CF-4BFD-8C66-533AAAACACA8}" dt="2023-02-28T05:57:36.253" v="558" actId="947"/>
          <ac:spMkLst>
            <pc:docMk/>
            <pc:sldMk cId="2641621532" sldId="281"/>
            <ac:spMk id="11" creationId="{8EF3D609-41B5-4A56-8942-7DC08C4DC25A}"/>
          </ac:spMkLst>
        </pc:spChg>
        <pc:spChg chg="mod">
          <ac:chgData name="Tobias Brammer" userId="80a1e1bd-3b82-47a5-b259-da62a397db92" providerId="ADAL" clId="{1E3A7C41-47CF-4BFD-8C66-533AAAACACA8}" dt="2023-02-28T06:07:42.828" v="3106" actId="20577"/>
          <ac:spMkLst>
            <pc:docMk/>
            <pc:sldMk cId="2641621532" sldId="281"/>
            <ac:spMk id="12" creationId="{702BF8D8-1F1E-4939-B5E8-A6D1C6691326}"/>
          </ac:spMkLst>
        </pc:spChg>
        <pc:spChg chg="mod">
          <ac:chgData name="Tobias Brammer" userId="80a1e1bd-3b82-47a5-b259-da62a397db92" providerId="ADAL" clId="{1E3A7C41-47CF-4BFD-8C66-533AAAACACA8}" dt="2023-02-28T05:57:36.268" v="562" actId="947"/>
          <ac:spMkLst>
            <pc:docMk/>
            <pc:sldMk cId="2641621532" sldId="281"/>
            <ac:spMk id="13" creationId="{50C5CCBA-0874-4BEE-99C2-CC4082D3A1FF}"/>
          </ac:spMkLst>
        </pc:spChg>
        <pc:spChg chg="add del mod">
          <ac:chgData name="Tobias Brammer" userId="80a1e1bd-3b82-47a5-b259-da62a397db92" providerId="ADAL" clId="{1E3A7C41-47CF-4BFD-8C66-533AAAACACA8}" dt="2023-02-28T07:03:50.420" v="6345" actId="478"/>
          <ac:spMkLst>
            <pc:docMk/>
            <pc:sldMk cId="2641621532" sldId="281"/>
            <ac:spMk id="14" creationId="{E1A4E241-A20B-4422-B08B-8F6558C9C741}"/>
          </ac:spMkLst>
        </pc:spChg>
        <pc:spChg chg="del mod">
          <ac:chgData name="Tobias Brammer" userId="80a1e1bd-3b82-47a5-b259-da62a397db92" providerId="ADAL" clId="{1E3A7C41-47CF-4BFD-8C66-533AAAACACA8}" dt="2023-02-28T07:03:52.350" v="6346" actId="478"/>
          <ac:spMkLst>
            <pc:docMk/>
            <pc:sldMk cId="2641621532" sldId="281"/>
            <ac:spMk id="15" creationId="{07E887EC-95BD-446F-AA42-026332C0EADF}"/>
          </ac:spMkLst>
        </pc:spChg>
        <pc:graphicFrameChg chg="add mod ord modVis replST">
          <ac:chgData name="Tobias Brammer" userId="80a1e1bd-3b82-47a5-b259-da62a397db92" providerId="ADAL" clId="{1E3A7C41-47CF-4BFD-8C66-533AAAACACA8}" dt="2023-02-28T05:57:38.397" v="1893"/>
          <ac:graphicFrameMkLst>
            <pc:docMk/>
            <pc:sldMk cId="2641621532" sldId="281"/>
            <ac:graphicFrameMk id="3" creationId="{AB86B848-EDE9-F4A9-108A-F58D243B51C5}"/>
          </ac:graphicFrameMkLst>
        </pc:graphicFrameChg>
      </pc:sldChg>
      <pc:sldChg chg="addSp delSp modSp mod modNotes">
        <pc:chgData name="Tobias Brammer" userId="80a1e1bd-3b82-47a5-b259-da62a397db92" providerId="ADAL" clId="{1E3A7C41-47CF-4BFD-8C66-533AAAACACA8}" dt="2023-03-02T06:39:57.001" v="6399" actId="20577"/>
        <pc:sldMkLst>
          <pc:docMk/>
          <pc:sldMk cId="1982481699" sldId="305"/>
        </pc:sldMkLst>
        <pc:spChg chg="add del mod modVis">
          <ac:chgData name="Tobias Brammer" userId="80a1e1bd-3b82-47a5-b259-da62a397db92" providerId="ADAL" clId="{1E3A7C41-47CF-4BFD-8C66-533AAAACACA8}" dt="2023-02-28T05:55:53.780" v="390"/>
          <ac:spMkLst>
            <pc:docMk/>
            <pc:sldMk cId="1982481699" sldId="305"/>
            <ac:spMk id="3" creationId="{857A203A-B8DE-B90C-EDF5-31329242FC13}"/>
          </ac:spMkLst>
        </pc:spChg>
        <pc:spChg chg="del mod modVis">
          <ac:chgData name="Tobias Brammer" userId="80a1e1bd-3b82-47a5-b259-da62a397db92" providerId="ADAL" clId="{1E3A7C41-47CF-4BFD-8C66-533AAAACACA8}" dt="2023-02-28T05:57:37.780" v="1857" actId="478"/>
          <ac:spMkLst>
            <pc:docMk/>
            <pc:sldMk cId="1982481699" sldId="305"/>
            <ac:spMk id="4" creationId="{0ECBD42B-5506-8B77-3BE7-D1844CA095BE}"/>
          </ac:spMkLst>
        </pc:spChg>
        <pc:spChg chg="mod">
          <ac:chgData name="Tobias Brammer" userId="80a1e1bd-3b82-47a5-b259-da62a397db92" providerId="ADAL" clId="{1E3A7C41-47CF-4BFD-8C66-533AAAACACA8}" dt="2023-03-02T06:39:57.001" v="6399" actId="20577"/>
          <ac:spMkLst>
            <pc:docMk/>
            <pc:sldMk cId="1982481699" sldId="305"/>
            <ac:spMk id="7" creationId="{0B924460-1A6C-4030-8DE0-387B74186E08}"/>
          </ac:spMkLst>
        </pc:spChg>
        <pc:spChg chg="mod">
          <ac:chgData name="Tobias Brammer" userId="80a1e1bd-3b82-47a5-b259-da62a397db92" providerId="ADAL" clId="{1E3A7C41-47CF-4BFD-8C66-533AAAACACA8}" dt="2023-02-28T05:57:36.253" v="544" actId="20577"/>
          <ac:spMkLst>
            <pc:docMk/>
            <pc:sldMk cId="1982481699" sldId="305"/>
            <ac:spMk id="8" creationId="{08D4D0AD-0A75-4D15-8D92-457BD4B8F7BE}"/>
          </ac:spMkLst>
        </pc:spChg>
        <pc:spChg chg="mod">
          <ac:chgData name="Tobias Brammer" userId="80a1e1bd-3b82-47a5-b259-da62a397db92" providerId="ADAL" clId="{1E3A7C41-47CF-4BFD-8C66-533AAAACACA8}" dt="2023-02-28T05:57:37.349" v="1512" actId="948"/>
          <ac:spMkLst>
            <pc:docMk/>
            <pc:sldMk cId="1982481699" sldId="305"/>
            <ac:spMk id="54" creationId="{80FB860F-3E3A-43EB-B273-14B2246A3D66}"/>
          </ac:spMkLst>
        </pc:spChg>
        <pc:graphicFrameChg chg="mod">
          <ac:chgData name="Tobias Brammer" userId="80a1e1bd-3b82-47a5-b259-da62a397db92" providerId="ADAL" clId="{1E3A7C41-47CF-4BFD-8C66-533AAAACACA8}" dt="2023-02-28T05:57:37.780" v="1858" actId="1076"/>
          <ac:graphicFrameMkLst>
            <pc:docMk/>
            <pc:sldMk cId="1982481699" sldId="305"/>
            <ac:graphicFrameMk id="2" creationId="{3C5B1A34-4CF2-0504-3BE2-26A1E21AF65D}"/>
          </ac:graphicFrameMkLst>
        </pc:graphicFrameChg>
      </pc:sldChg>
      <pc:sldChg chg="delSp modSp mod modTransition modShow modNotes">
        <pc:chgData name="Tobias Brammer" userId="80a1e1bd-3b82-47a5-b259-da62a397db92" providerId="ADAL" clId="{1E3A7C41-47CF-4BFD-8C66-533AAAACACA8}" dt="2023-02-28T07:04:11.891" v="6350"/>
        <pc:sldMkLst>
          <pc:docMk/>
          <pc:sldMk cId="3556110710" sldId="307"/>
        </pc:sldMkLst>
        <pc:spChg chg="mod">
          <ac:chgData name="Tobias Brammer" userId="80a1e1bd-3b82-47a5-b259-da62a397db92" providerId="ADAL" clId="{1E3A7C41-47CF-4BFD-8C66-533AAAACACA8}" dt="2023-02-28T05:57:37.411" v="1622" actId="948"/>
          <ac:spMkLst>
            <pc:docMk/>
            <pc:sldMk cId="3556110710" sldId="307"/>
            <ac:spMk id="2" creationId="{F7A7B11F-5560-4450-B29C-AA36EE47DBD5}"/>
          </ac:spMkLst>
        </pc:spChg>
        <pc:spChg chg="del mod modVis">
          <ac:chgData name="Tobias Brammer" userId="80a1e1bd-3b82-47a5-b259-da62a397db92" providerId="ADAL" clId="{1E3A7C41-47CF-4BFD-8C66-533AAAACACA8}" dt="2023-02-28T05:57:37.827" v="1879" actId="478"/>
          <ac:spMkLst>
            <pc:docMk/>
            <pc:sldMk cId="3556110710" sldId="307"/>
            <ac:spMk id="3" creationId="{FA3C389B-50E0-F2D8-8A1E-95EEA103AAFC}"/>
          </ac:spMkLst>
        </pc:spChg>
        <pc:spChg chg="mod">
          <ac:chgData name="Tobias Brammer" userId="80a1e1bd-3b82-47a5-b259-da62a397db92" providerId="ADAL" clId="{1E3A7C41-47CF-4BFD-8C66-533AAAACACA8}" dt="2023-02-28T05:57:36.268" v="582" actId="20577"/>
          <ac:spMkLst>
            <pc:docMk/>
            <pc:sldMk cId="3556110710" sldId="307"/>
            <ac:spMk id="6" creationId="{8FC4456C-8838-4F8B-8B1E-95CBD5B2E38B}"/>
          </ac:spMkLst>
        </pc:spChg>
        <pc:graphicFrameChg chg="mod ord modVis replST">
          <ac:chgData name="Tobias Brammer" userId="80a1e1bd-3b82-47a5-b259-da62a397db92" providerId="ADAL" clId="{1E3A7C41-47CF-4BFD-8C66-533AAAACACA8}" dt="2023-02-28T05:57:37.842" v="1887" actId="1076"/>
          <ac:graphicFrameMkLst>
            <pc:docMk/>
            <pc:sldMk cId="3556110710" sldId="307"/>
            <ac:graphicFrameMk id="4" creationId="{79C05AFC-9555-D40C-AD9D-3E13BD0A4FC2}"/>
          </ac:graphicFrameMkLst>
        </pc:graphicFrameChg>
      </pc:sldChg>
      <pc:sldChg chg="addSp modSp add mod ord modNotes">
        <pc:chgData name="Tobias Brammer" userId="80a1e1bd-3b82-47a5-b259-da62a397db92" providerId="ADAL" clId="{1E3A7C41-47CF-4BFD-8C66-533AAAACACA8}" dt="2023-03-02T06:51:59.798" v="6890" actId="20577"/>
        <pc:sldMkLst>
          <pc:docMk/>
          <pc:sldMk cId="2678748836" sldId="308"/>
        </pc:sldMkLst>
        <pc:spChg chg="mod">
          <ac:chgData name="Tobias Brammer" userId="80a1e1bd-3b82-47a5-b259-da62a397db92" providerId="ADAL" clId="{1E3A7C41-47CF-4BFD-8C66-533AAAACACA8}" dt="2023-02-28T05:57:37.380" v="1548" actId="948"/>
          <ac:spMkLst>
            <pc:docMk/>
            <pc:sldMk cId="2678748836" sldId="308"/>
            <ac:spMk id="2" creationId="{F7A7B11F-5560-4450-B29C-AA36EE47DBD5}"/>
          </ac:spMkLst>
        </pc:spChg>
        <pc:spChg chg="mod">
          <ac:chgData name="Tobias Brammer" userId="80a1e1bd-3b82-47a5-b259-da62a397db92" providerId="ADAL" clId="{1E3A7C41-47CF-4BFD-8C66-533AAAACACA8}" dt="2023-03-02T06:51:59.798" v="6890" actId="20577"/>
          <ac:spMkLst>
            <pc:docMk/>
            <pc:sldMk cId="2678748836" sldId="308"/>
            <ac:spMk id="6" creationId="{8FC4456C-8838-4F8B-8B1E-95CBD5B2E38B}"/>
          </ac:spMkLst>
        </pc:spChg>
        <pc:graphicFrameChg chg="add mod ord modVis replST">
          <ac:chgData name="Tobias Brammer" userId="80a1e1bd-3b82-47a5-b259-da62a397db92" providerId="ADAL" clId="{1E3A7C41-47CF-4BFD-8C66-533AAAACACA8}" dt="2023-02-28T05:57:37.780" v="1859" actId="1076"/>
          <ac:graphicFrameMkLst>
            <pc:docMk/>
            <pc:sldMk cId="2678748836" sldId="308"/>
            <ac:graphicFrameMk id="3" creationId="{C25CA449-E3EB-0DD4-6908-6F7AA75DB9C8}"/>
          </ac:graphicFrameMkLst>
        </pc:graphicFrameChg>
      </pc:sldChg>
      <pc:sldChg chg="addSp delSp modSp add mod">
        <pc:chgData name="Tobias Brammer" userId="80a1e1bd-3b82-47a5-b259-da62a397db92" providerId="ADAL" clId="{1E3A7C41-47CF-4BFD-8C66-533AAAACACA8}" dt="2023-03-02T07:02:36.969" v="7633" actId="20577"/>
        <pc:sldMkLst>
          <pc:docMk/>
          <pc:sldMk cId="2492524537" sldId="309"/>
        </pc:sldMkLst>
        <pc:spChg chg="mod">
          <ac:chgData name="Tobias Brammer" userId="80a1e1bd-3b82-47a5-b259-da62a397db92" providerId="ADAL" clId="{1E3A7C41-47CF-4BFD-8C66-533AAAACACA8}" dt="2023-02-28T06:08:00.168" v="3114" actId="948"/>
          <ac:spMkLst>
            <pc:docMk/>
            <pc:sldMk cId="2492524537" sldId="309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00.199" v="3155"/>
          <ac:spMkLst>
            <pc:docMk/>
            <pc:sldMk cId="2492524537" sldId="309"/>
            <ac:spMk id="3" creationId="{74267DD0-600C-34A8-916D-28F360D85225}"/>
          </ac:spMkLst>
        </pc:spChg>
        <pc:spChg chg="add mod">
          <ac:chgData name="Tobias Brammer" userId="80a1e1bd-3b82-47a5-b259-da62a397db92" providerId="ADAL" clId="{1E3A7C41-47CF-4BFD-8C66-533AAAACACA8}" dt="2023-02-28T06:53:15.068" v="6105" actId="404"/>
          <ac:spMkLst>
            <pc:docMk/>
            <pc:sldMk cId="2492524537" sldId="309"/>
            <ac:spMk id="3" creationId="{DBBA62F8-ABAB-0796-5D4F-277CA4383CB2}"/>
          </ac:spMkLst>
        </pc:spChg>
        <pc:spChg chg="mod">
          <ac:chgData name="Tobias Brammer" userId="80a1e1bd-3b82-47a5-b259-da62a397db92" providerId="ADAL" clId="{1E3A7C41-47CF-4BFD-8C66-533AAAACACA8}" dt="2023-03-02T07:02:36.969" v="7633" actId="20577"/>
          <ac:spMkLst>
            <pc:docMk/>
            <pc:sldMk cId="2492524537" sldId="309"/>
            <ac:spMk id="6" creationId="{8FC4456C-8838-4F8B-8B1E-95CBD5B2E38B}"/>
          </ac:spMkLst>
        </pc:spChg>
        <pc:graphicFrameChg chg="mod">
          <ac:chgData name="Tobias Brammer" userId="80a1e1bd-3b82-47a5-b259-da62a397db92" providerId="ADAL" clId="{1E3A7C41-47CF-4BFD-8C66-533AAAACACA8}" dt="2023-02-28T06:08:00.199" v="3157"/>
          <ac:graphicFrameMkLst>
            <pc:docMk/>
            <pc:sldMk cId="2492524537" sldId="309"/>
            <ac:graphicFrameMk id="4" creationId="{79C05AFC-9555-D40C-AD9D-3E13BD0A4FC2}"/>
          </ac:graphicFrameMkLst>
        </pc:graphicFrameChg>
      </pc:sldChg>
      <pc:sldChg chg="addSp delSp modSp add del mod ord">
        <pc:chgData name="Tobias Brammer" userId="80a1e1bd-3b82-47a5-b259-da62a397db92" providerId="ADAL" clId="{1E3A7C41-47CF-4BFD-8C66-533AAAACACA8}" dt="2023-02-28T06:36:57.276" v="5393" actId="47"/>
        <pc:sldMkLst>
          <pc:docMk/>
          <pc:sldMk cId="1870312031" sldId="310"/>
        </pc:sldMkLst>
        <pc:spChg chg="mod">
          <ac:chgData name="Tobias Brammer" userId="80a1e1bd-3b82-47a5-b259-da62a397db92" providerId="ADAL" clId="{1E3A7C41-47CF-4BFD-8C66-533AAAACACA8}" dt="2023-02-28T06:08:11.113" v="3182" actId="948"/>
          <ac:spMkLst>
            <pc:docMk/>
            <pc:sldMk cId="1870312031" sldId="310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11.144" v="3223"/>
          <ac:spMkLst>
            <pc:docMk/>
            <pc:sldMk cId="1870312031" sldId="310"/>
            <ac:spMk id="3" creationId="{2B041E51-2461-474E-11BD-7A8AC81EE1E6}"/>
          </ac:spMkLst>
        </pc:spChg>
        <pc:graphicFrameChg chg="mod">
          <ac:chgData name="Tobias Brammer" userId="80a1e1bd-3b82-47a5-b259-da62a397db92" providerId="ADAL" clId="{1E3A7C41-47CF-4BFD-8C66-533AAAACACA8}" dt="2023-02-28T06:08:11.144" v="3225"/>
          <ac:graphicFrameMkLst>
            <pc:docMk/>
            <pc:sldMk cId="1870312031" sldId="310"/>
            <ac:graphicFrameMk id="4" creationId="{79C05AFC-9555-D40C-AD9D-3E13BD0A4FC2}"/>
          </ac:graphicFrameMkLst>
        </pc:graphicFrameChg>
      </pc:sldChg>
      <pc:sldChg chg="addSp delSp modSp add mod">
        <pc:chgData name="Tobias Brammer" userId="80a1e1bd-3b82-47a5-b259-da62a397db92" providerId="ADAL" clId="{1E3A7C41-47CF-4BFD-8C66-533AAAACACA8}" dt="2023-03-02T07:08:49.754" v="7663" actId="20577"/>
        <pc:sldMkLst>
          <pc:docMk/>
          <pc:sldMk cId="3090062221" sldId="311"/>
        </pc:sldMkLst>
        <pc:spChg chg="mod">
          <ac:chgData name="Tobias Brammer" userId="80a1e1bd-3b82-47a5-b259-da62a397db92" providerId="ADAL" clId="{1E3A7C41-47CF-4BFD-8C66-533AAAACACA8}" dt="2023-02-28T06:08:25.446" v="3243" actId="948"/>
          <ac:spMkLst>
            <pc:docMk/>
            <pc:sldMk cId="3090062221" sldId="311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25.478" v="3284"/>
          <ac:spMkLst>
            <pc:docMk/>
            <pc:sldMk cId="3090062221" sldId="311"/>
            <ac:spMk id="3" creationId="{9C090687-E112-4A89-9E1F-84EC7C61D5BE}"/>
          </ac:spMkLst>
        </pc:spChg>
        <pc:spChg chg="mod">
          <ac:chgData name="Tobias Brammer" userId="80a1e1bd-3b82-47a5-b259-da62a397db92" providerId="ADAL" clId="{1E3A7C41-47CF-4BFD-8C66-533AAAACACA8}" dt="2023-03-02T07:08:49.754" v="7663" actId="20577"/>
          <ac:spMkLst>
            <pc:docMk/>
            <pc:sldMk cId="3090062221" sldId="311"/>
            <ac:spMk id="6" creationId="{8FC4456C-8838-4F8B-8B1E-95CBD5B2E38B}"/>
          </ac:spMkLst>
        </pc:spChg>
        <pc:graphicFrameChg chg="add mod">
          <ac:chgData name="Tobias Brammer" userId="80a1e1bd-3b82-47a5-b259-da62a397db92" providerId="ADAL" clId="{1E3A7C41-47CF-4BFD-8C66-533AAAACACA8}" dt="2023-03-02T07:04:26.664" v="7634" actId="1076"/>
          <ac:graphicFrameMkLst>
            <pc:docMk/>
            <pc:sldMk cId="3090062221" sldId="311"/>
            <ac:graphicFrameMk id="3" creationId="{4029F1DC-CF89-2E77-8726-6C47BC99DC34}"/>
          </ac:graphicFrameMkLst>
        </pc:graphicFrameChg>
        <pc:graphicFrameChg chg="mod">
          <ac:chgData name="Tobias Brammer" userId="80a1e1bd-3b82-47a5-b259-da62a397db92" providerId="ADAL" clId="{1E3A7C41-47CF-4BFD-8C66-533AAAACACA8}" dt="2023-02-28T06:08:25.478" v="3286"/>
          <ac:graphicFrameMkLst>
            <pc:docMk/>
            <pc:sldMk cId="3090062221" sldId="311"/>
            <ac:graphicFrameMk id="4" creationId="{79C05AFC-9555-D40C-AD9D-3E13BD0A4FC2}"/>
          </ac:graphicFrameMkLst>
        </pc:graphicFrameChg>
      </pc:sldChg>
      <pc:sldChg chg="addSp delSp modSp add del mod">
        <pc:chgData name="Tobias Brammer" userId="80a1e1bd-3b82-47a5-b259-da62a397db92" providerId="ADAL" clId="{1E3A7C41-47CF-4BFD-8C66-533AAAACACA8}" dt="2023-02-28T07:03:58.310" v="6347" actId="47"/>
        <pc:sldMkLst>
          <pc:docMk/>
          <pc:sldMk cId="3983784041" sldId="312"/>
        </pc:sldMkLst>
        <pc:spChg chg="mod">
          <ac:chgData name="Tobias Brammer" userId="80a1e1bd-3b82-47a5-b259-da62a397db92" providerId="ADAL" clId="{1E3A7C41-47CF-4BFD-8C66-533AAAACACA8}" dt="2023-02-28T06:08:34.829" v="3355" actId="948"/>
          <ac:spMkLst>
            <pc:docMk/>
            <pc:sldMk cId="3983784041" sldId="312"/>
            <ac:spMk id="2" creationId="{F7A7B11F-5560-4450-B29C-AA36EE47DBD5}"/>
          </ac:spMkLst>
        </pc:spChg>
        <pc:spChg chg="add del mod modVis">
          <ac:chgData name="Tobias Brammer" userId="80a1e1bd-3b82-47a5-b259-da62a397db92" providerId="ADAL" clId="{1E3A7C41-47CF-4BFD-8C66-533AAAACACA8}" dt="2023-02-28T06:08:33.163" v="3345"/>
          <ac:spMkLst>
            <pc:docMk/>
            <pc:sldMk cId="3983784041" sldId="312"/>
            <ac:spMk id="3" creationId="{F8B4F4AA-BCEB-5DE4-1C73-79345D38E278}"/>
          </ac:spMkLst>
        </pc:spChg>
        <pc:spChg chg="add del mod modVis">
          <ac:chgData name="Tobias Brammer" userId="80a1e1bd-3b82-47a5-b259-da62a397db92" providerId="ADAL" clId="{1E3A7C41-47CF-4BFD-8C66-533AAAACACA8}" dt="2023-02-28T06:08:34.853" v="3396"/>
          <ac:spMkLst>
            <pc:docMk/>
            <pc:sldMk cId="3983784041" sldId="312"/>
            <ac:spMk id="5" creationId="{52F713EA-1C23-3329-F724-4EF753D60FDF}"/>
          </ac:spMkLst>
        </pc:spChg>
        <pc:graphicFrameChg chg="mod">
          <ac:chgData name="Tobias Brammer" userId="80a1e1bd-3b82-47a5-b259-da62a397db92" providerId="ADAL" clId="{1E3A7C41-47CF-4BFD-8C66-533AAAACACA8}" dt="2023-02-28T06:08:34.853" v="3398"/>
          <ac:graphicFrameMkLst>
            <pc:docMk/>
            <pc:sldMk cId="3983784041" sldId="312"/>
            <ac:graphicFrameMk id="4" creationId="{79C05AFC-9555-D40C-AD9D-3E13BD0A4FC2}"/>
          </ac:graphicFrameMkLst>
        </pc:graphicFrameChg>
      </pc:sldChg>
      <pc:sldChg chg="addSp delSp modSp add mod">
        <pc:chgData name="Tobias Brammer" userId="80a1e1bd-3b82-47a5-b259-da62a397db92" providerId="ADAL" clId="{1E3A7C41-47CF-4BFD-8C66-533AAAACACA8}" dt="2023-03-02T07:02:03.908" v="7620" actId="20577"/>
        <pc:sldMkLst>
          <pc:docMk/>
          <pc:sldMk cId="637503088" sldId="313"/>
        </pc:sldMkLst>
        <pc:spChg chg="add mod">
          <ac:chgData name="Tobias Brammer" userId="80a1e1bd-3b82-47a5-b259-da62a397db92" providerId="ADAL" clId="{1E3A7C41-47CF-4BFD-8C66-533AAAACACA8}" dt="2023-02-28T07:05:34.154" v="6352" actId="948"/>
          <ac:spMkLst>
            <pc:docMk/>
            <pc:sldMk cId="637503088" sldId="313"/>
            <ac:spMk id="2" creationId="{2BD5074D-D1F9-B9F7-DACD-88F097B4D5CD}"/>
          </ac:spMkLst>
        </pc:spChg>
        <pc:spChg chg="del">
          <ac:chgData name="Tobias Brammer" userId="80a1e1bd-3b82-47a5-b259-da62a397db92" providerId="ADAL" clId="{1E3A7C41-47CF-4BFD-8C66-533AAAACACA8}" dt="2023-02-28T06:09:31.016" v="3430" actId="478"/>
          <ac:spMkLst>
            <pc:docMk/>
            <pc:sldMk cId="637503088" sldId="313"/>
            <ac:spMk id="2" creationId="{DB8BCC98-68C8-4EB4-853E-B372C26EBCFF}"/>
          </ac:spMkLst>
        </pc:spChg>
        <pc:spChg chg="add del mod modVis">
          <ac:chgData name="Tobias Brammer" userId="80a1e1bd-3b82-47a5-b259-da62a397db92" providerId="ADAL" clId="{1E3A7C41-47CF-4BFD-8C66-533AAAACACA8}" dt="2023-02-28T06:38:23.317" v="5481"/>
          <ac:spMkLst>
            <pc:docMk/>
            <pc:sldMk cId="637503088" sldId="313"/>
            <ac:spMk id="3" creationId="{D43D18D9-D257-D219-40AA-FF14A34E5430}"/>
          </ac:spMkLst>
        </pc:spChg>
        <pc:spChg chg="add del mod">
          <ac:chgData name="Tobias Brammer" userId="80a1e1bd-3b82-47a5-b259-da62a397db92" providerId="ADAL" clId="{1E3A7C41-47CF-4BFD-8C66-533AAAACACA8}" dt="2023-02-28T06:09:34.015" v="3436" actId="478"/>
          <ac:spMkLst>
            <pc:docMk/>
            <pc:sldMk cId="637503088" sldId="313"/>
            <ac:spMk id="5" creationId="{A767E049-01A4-F58F-37DE-B86C85FBF948}"/>
          </ac:spMkLst>
        </pc:spChg>
        <pc:spChg chg="add del mod modVis">
          <ac:chgData name="Tobias Brammer" userId="80a1e1bd-3b82-47a5-b259-da62a397db92" providerId="ADAL" clId="{1E3A7C41-47CF-4BFD-8C66-533AAAACACA8}" dt="2023-02-28T06:38:24.455" v="5526"/>
          <ac:spMkLst>
            <pc:docMk/>
            <pc:sldMk cId="637503088" sldId="313"/>
            <ac:spMk id="5" creationId="{F247C247-FB0E-37BD-6D41-0FAF76B1889D}"/>
          </ac:spMkLst>
        </pc:spChg>
        <pc:spChg chg="mod">
          <ac:chgData name="Tobias Brammer" userId="80a1e1bd-3b82-47a5-b259-da62a397db92" providerId="ADAL" clId="{1E3A7C41-47CF-4BFD-8C66-533AAAACACA8}" dt="2023-03-02T07:02:03.908" v="7620" actId="20577"/>
          <ac:spMkLst>
            <pc:docMk/>
            <pc:sldMk cId="637503088" sldId="313"/>
            <ac:spMk id="6" creationId="{C946590A-DCFA-480E-9973-032781667CFD}"/>
          </ac:spMkLst>
        </pc:spChg>
        <pc:spChg chg="mod">
          <ac:chgData name="Tobias Brammer" userId="80a1e1bd-3b82-47a5-b259-da62a397db92" providerId="ADAL" clId="{1E3A7C41-47CF-4BFD-8C66-533AAAACACA8}" dt="2023-03-02T07:01:37.535" v="7617" actId="20577"/>
          <ac:spMkLst>
            <pc:docMk/>
            <pc:sldMk cId="637503088" sldId="313"/>
            <ac:spMk id="7" creationId="{BB313780-1FD1-47D9-8FAE-3FEDD5BED7B1}"/>
          </ac:spMkLst>
        </pc:spChg>
        <pc:spChg chg="mod">
          <ac:chgData name="Tobias Brammer" userId="80a1e1bd-3b82-47a5-b259-da62a397db92" providerId="ADAL" clId="{1E3A7C41-47CF-4BFD-8C66-533AAAACACA8}" dt="2023-03-02T07:01:04.346" v="7592" actId="20577"/>
          <ac:spMkLst>
            <pc:docMk/>
            <pc:sldMk cId="637503088" sldId="313"/>
            <ac:spMk id="8" creationId="{A26BD07B-B36A-46BD-8B09-8347D40D54E4}"/>
          </ac:spMkLst>
        </pc:spChg>
        <pc:spChg chg="mod">
          <ac:chgData name="Tobias Brammer" userId="80a1e1bd-3b82-47a5-b259-da62a397db92" providerId="ADAL" clId="{1E3A7C41-47CF-4BFD-8C66-533AAAACACA8}" dt="2023-03-02T06:53:48.503" v="7006" actId="20577"/>
          <ac:spMkLst>
            <pc:docMk/>
            <pc:sldMk cId="637503088" sldId="313"/>
            <ac:spMk id="9" creationId="{7A55C507-1CA4-403F-85AA-068A599400B3}"/>
          </ac:spMkLst>
        </pc:spChg>
        <pc:spChg chg="mod">
          <ac:chgData name="Tobias Brammer" userId="80a1e1bd-3b82-47a5-b259-da62a397db92" providerId="ADAL" clId="{1E3A7C41-47CF-4BFD-8C66-533AAAACACA8}" dt="2023-02-28T06:37:47.660" v="5412" actId="552"/>
          <ac:spMkLst>
            <pc:docMk/>
            <pc:sldMk cId="637503088" sldId="313"/>
            <ac:spMk id="10" creationId="{FCC3E6C0-5D07-41B1-BF2D-D07463968082}"/>
          </ac:spMkLst>
        </pc:spChg>
        <pc:spChg chg="mod">
          <ac:chgData name="Tobias Brammer" userId="80a1e1bd-3b82-47a5-b259-da62a397db92" providerId="ADAL" clId="{1E3A7C41-47CF-4BFD-8C66-533AAAACACA8}" dt="2023-02-28T06:37:57.614" v="5414" actId="552"/>
          <ac:spMkLst>
            <pc:docMk/>
            <pc:sldMk cId="637503088" sldId="313"/>
            <ac:spMk id="11" creationId="{F2D1ABE1-5DEA-4BC7-A383-C87624EBC8FE}"/>
          </ac:spMkLst>
        </pc:spChg>
        <pc:spChg chg="mod">
          <ac:chgData name="Tobias Brammer" userId="80a1e1bd-3b82-47a5-b259-da62a397db92" providerId="ADAL" clId="{1E3A7C41-47CF-4BFD-8C66-533AAAACACA8}" dt="2023-02-28T06:37:53.373" v="5413" actId="552"/>
          <ac:spMkLst>
            <pc:docMk/>
            <pc:sldMk cId="637503088" sldId="313"/>
            <ac:spMk id="12" creationId="{2E5DBFB2-6254-4D85-BA12-9421EF5CB27B}"/>
          </ac:spMkLst>
        </pc:spChg>
        <pc:spChg chg="mod">
          <ac:chgData name="Tobias Brammer" userId="80a1e1bd-3b82-47a5-b259-da62a397db92" providerId="ADAL" clId="{1E3A7C41-47CF-4BFD-8C66-533AAAACACA8}" dt="2023-02-28T06:38:01.781" v="5415" actId="552"/>
          <ac:spMkLst>
            <pc:docMk/>
            <pc:sldMk cId="637503088" sldId="313"/>
            <ac:spMk id="13" creationId="{E13D7B49-6DD3-43C3-9A2E-E2BA90A74A41}"/>
          </ac:spMkLst>
        </pc:spChg>
        <pc:spChg chg="add del mod">
          <ac:chgData name="Tobias Brammer" userId="80a1e1bd-3b82-47a5-b259-da62a397db92" providerId="ADAL" clId="{1E3A7C41-47CF-4BFD-8C66-533AAAACACA8}" dt="2023-02-28T06:38:16.509" v="5416" actId="478"/>
          <ac:spMkLst>
            <pc:docMk/>
            <pc:sldMk cId="637503088" sldId="313"/>
            <ac:spMk id="14" creationId="{80CA6A1E-1230-5C19-ED2B-204E17C5782F}"/>
          </ac:spMkLst>
        </pc:spChg>
        <pc:spChg chg="add del mod modVis">
          <ac:chgData name="Tobias Brammer" userId="80a1e1bd-3b82-47a5-b259-da62a397db92" providerId="ADAL" clId="{1E3A7C41-47CF-4BFD-8C66-533AAAACACA8}" dt="2023-02-28T07:05:34.174" v="6393"/>
          <ac:spMkLst>
            <pc:docMk/>
            <pc:sldMk cId="637503088" sldId="313"/>
            <ac:spMk id="15" creationId="{F7B5D358-DE5E-D8C4-ADC1-C5D1A3D0DE2B}"/>
          </ac:spMkLst>
        </pc:spChg>
        <pc:graphicFrameChg chg="mod">
          <ac:chgData name="Tobias Brammer" userId="80a1e1bd-3b82-47a5-b259-da62a397db92" providerId="ADAL" clId="{1E3A7C41-47CF-4BFD-8C66-533AAAACACA8}" dt="2023-02-28T07:05:34.175" v="6395"/>
          <ac:graphicFrameMkLst>
            <pc:docMk/>
            <pc:sldMk cId="637503088" sldId="313"/>
            <ac:graphicFrameMk id="4" creationId="{DA4F5744-822E-272D-9EB9-E4CFFB864E67}"/>
          </ac:graphicFrameMkLst>
        </pc:graphicFrameChg>
      </pc:sldChg>
      <pc:sldMasterChg chg="delSp modSp mod modSldLayout">
        <pc:chgData name="Tobias Brammer" userId="80a1e1bd-3b82-47a5-b259-da62a397db92" providerId="ADAL" clId="{1E3A7C41-47CF-4BFD-8C66-533AAAACACA8}" dt="2023-02-28T05:57:37.780" v="1856" actId="1076"/>
        <pc:sldMasterMkLst>
          <pc:docMk/>
          <pc:sldMasterMk cId="408341288" sldId="2147483648"/>
        </pc:sldMasterMkLst>
        <pc:spChg chg="mod">
          <ac:chgData name="Tobias Brammer" userId="80a1e1bd-3b82-47a5-b259-da62a397db92" providerId="ADAL" clId="{1E3A7C41-47CF-4BFD-8C66-533AAAACACA8}" dt="2023-02-28T05:57:36.927" v="864" actId="948"/>
          <ac:spMkLst>
            <pc:docMk/>
            <pc:sldMasterMk cId="408341288" sldId="2147483648"/>
            <ac:spMk id="2" creationId="{00000000-0000-0000-0000-000000000000}"/>
          </ac:spMkLst>
        </pc:spChg>
        <pc:spChg chg="mod">
          <ac:chgData name="Tobias Brammer" userId="80a1e1bd-3b82-47a5-b259-da62a397db92" providerId="ADAL" clId="{1E3A7C41-47CF-4BFD-8C66-533AAAACACA8}" dt="2023-02-28T05:57:36.300" v="602" actId="790"/>
          <ac:spMkLst>
            <pc:docMk/>
            <pc:sldMasterMk cId="408341288" sldId="2147483648"/>
            <ac:spMk id="3" creationId="{00000000-0000-0000-0000-000000000000}"/>
          </ac:spMkLst>
        </pc:spChg>
        <pc:spChg chg="del mod modVis">
          <ac:chgData name="Tobias Brammer" userId="80a1e1bd-3b82-47a5-b259-da62a397db92" providerId="ADAL" clId="{1E3A7C41-47CF-4BFD-8C66-533AAAACACA8}" dt="2023-02-28T05:57:37.471" v="1678" actId="478"/>
          <ac:spMkLst>
            <pc:docMk/>
            <pc:sldMasterMk cId="408341288" sldId="2147483648"/>
            <ac:spMk id="4" creationId="{CAD4E2A7-5FD0-BC15-2AA0-6ECFCB217FC9}"/>
          </ac:spMkLst>
        </pc:spChg>
        <pc:spChg chg="mod">
          <ac:chgData name="Tobias Brammer" userId="80a1e1bd-3b82-47a5-b259-da62a397db92" providerId="ADAL" clId="{1E3A7C41-47CF-4BFD-8C66-533AAAACACA8}" dt="2023-02-28T05:57:36.300" v="603" actId="790"/>
          <ac:spMkLst>
            <pc:docMk/>
            <pc:sldMasterMk cId="408341288" sldId="2147483648"/>
            <ac:spMk id="6" creationId="{00000000-0000-0000-0000-000000000000}"/>
          </ac:spMkLst>
        </pc:spChg>
        <pc:spChg chg="mod">
          <ac:chgData name="Tobias Brammer" userId="80a1e1bd-3b82-47a5-b259-da62a397db92" providerId="ADAL" clId="{1E3A7C41-47CF-4BFD-8C66-533AAAACACA8}" dt="2023-02-28T05:57:36.300" v="605" actId="947"/>
          <ac:spMkLst>
            <pc:docMk/>
            <pc:sldMasterMk cId="408341288" sldId="2147483648"/>
            <ac:spMk id="16" creationId="{41CBECE6-4121-4040-93C2-1D43AFE5C05D}"/>
          </ac:spMkLst>
        </pc:spChg>
        <pc:graphicFrameChg chg="mod">
          <ac:chgData name="Tobias Brammer" userId="80a1e1bd-3b82-47a5-b259-da62a397db92" providerId="ADAL" clId="{1E3A7C41-47CF-4BFD-8C66-533AAAACACA8}" dt="2023-02-28T05:57:37.471" v="1679" actId="1076"/>
          <ac:graphicFrameMkLst>
            <pc:docMk/>
            <pc:sldMasterMk cId="408341288" sldId="2147483648"/>
            <ac:graphicFrameMk id="5" creationId="{DDE25FA5-E514-CFB8-9A3C-3E423FEA643B}"/>
          </ac:graphicFrameMkLst>
        </pc:graphicFrameChg>
        <pc:sldLayoutChg chg="delSp modSp mod">
          <pc:chgData name="Tobias Brammer" userId="80a1e1bd-3b82-47a5-b259-da62a397db92" providerId="ADAL" clId="{1E3A7C41-47CF-4BFD-8C66-533AAAACACA8}" dt="2023-02-28T05:57:37.455" v="1668" actId="1076"/>
          <pc:sldLayoutMkLst>
            <pc:docMk/>
            <pc:sldMasterMk cId="408341288" sldId="2147483648"/>
            <pc:sldLayoutMk cId="1576694700" sldId="2147483650"/>
          </pc:sldLayoutMkLst>
          <pc:spChg chg="mod">
            <ac:chgData name="Tobias Brammer" userId="80a1e1bd-3b82-47a5-b259-da62a397db92" providerId="ADAL" clId="{1E3A7C41-47CF-4BFD-8C66-533AAAACACA8}" dt="2023-02-28T05:57:36.864" v="792" actId="948"/>
            <ac:spMkLst>
              <pc:docMk/>
              <pc:sldMasterMk cId="408341288" sldId="2147483648"/>
              <pc:sldLayoutMk cId="1576694700" sldId="2147483650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42" v="1660" actId="478"/>
            <ac:spMkLst>
              <pc:docMk/>
              <pc:sldMasterMk cId="408341288" sldId="2147483648"/>
              <pc:sldLayoutMk cId="1576694700" sldId="2147483650"/>
              <ac:spMk id="3" creationId="{12BE213B-B437-F6A1-CB38-3E24867DE2E2}"/>
            </ac:spMkLst>
          </pc:spChg>
          <pc:spChg chg="mod">
            <ac:chgData name="Tobias Brammer" userId="80a1e1bd-3b82-47a5-b259-da62a397db92" providerId="ADAL" clId="{1E3A7C41-47CF-4BFD-8C66-533AAAACACA8}" dt="2023-02-28T05:57:36.395" v="654" actId="790"/>
            <ac:spMkLst>
              <pc:docMk/>
              <pc:sldMasterMk cId="408341288" sldId="2147483648"/>
              <pc:sldLayoutMk cId="1576694700" sldId="2147483650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1E3A7C41-47CF-4BFD-8C66-533AAAACACA8}" dt="2023-02-28T05:57:36.395" v="655" actId="790"/>
            <ac:spMkLst>
              <pc:docMk/>
              <pc:sldMasterMk cId="408341288" sldId="2147483648"/>
              <pc:sldLayoutMk cId="1576694700" sldId="2147483650"/>
              <ac:spMk id="10" creationId="{CD368082-6B4C-4E17-B467-EDE690A0632A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55" v="1668" actId="1076"/>
            <ac:graphicFrameMkLst>
              <pc:docMk/>
              <pc:sldMasterMk cId="408341288" sldId="2147483648"/>
              <pc:sldLayoutMk cId="1576694700" sldId="2147483650"/>
              <ac:graphicFrameMk id="4" creationId="{1B7D2480-7036-710B-1778-3F9B8F54412B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80" v="1803" actId="1076"/>
          <pc:sldLayoutMkLst>
            <pc:docMk/>
            <pc:sldMasterMk cId="408341288" sldId="2147483648"/>
            <pc:sldLayoutMk cId="799966409" sldId="2147483654"/>
          </pc:sldLayoutMkLst>
          <pc:spChg chg="mod">
            <ac:chgData name="Tobias Brammer" userId="80a1e1bd-3b82-47a5-b259-da62a397db92" providerId="ADAL" clId="{1E3A7C41-47CF-4BFD-8C66-533AAAACACA8}" dt="2023-02-28T05:57:37.211" v="1296" actId="948"/>
            <ac:spMkLst>
              <pc:docMk/>
              <pc:sldMasterMk cId="408341288" sldId="2147483648"/>
              <pc:sldLayoutMk cId="799966409" sldId="2147483654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664" v="1795" actId="478"/>
            <ac:spMkLst>
              <pc:docMk/>
              <pc:sldMasterMk cId="408341288" sldId="2147483648"/>
              <pc:sldLayoutMk cId="799966409" sldId="2147483654"/>
              <ac:spMk id="3" creationId="{A2DDA067-65EC-48E6-F67E-BF93AC88E532}"/>
            </ac:spMkLst>
          </pc:spChg>
          <pc:spChg chg="mod">
            <ac:chgData name="Tobias Brammer" userId="80a1e1bd-3b82-47a5-b259-da62a397db92" providerId="ADAL" clId="{1E3A7C41-47CF-4BFD-8C66-533AAAACACA8}" dt="2023-02-28T05:57:36.579" v="733" actId="790"/>
            <ac:spMkLst>
              <pc:docMk/>
              <pc:sldMasterMk cId="408341288" sldId="2147483648"/>
              <pc:sldLayoutMk cId="799966409" sldId="2147483654"/>
              <ac:spMk id="5" creationId="{00000000-0000-0000-0000-000000000000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80" v="1803" actId="1076"/>
            <ac:graphicFrameMkLst>
              <pc:docMk/>
              <pc:sldMasterMk cId="408341288" sldId="2147483648"/>
              <pc:sldLayoutMk cId="799966409" sldId="2147483654"/>
              <ac:graphicFrameMk id="4" creationId="{6251417E-2501-E881-FC04-B6D712425DBF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00" v="1760" actId="1076"/>
          <pc:sldLayoutMkLst>
            <pc:docMk/>
            <pc:sldMasterMk cId="408341288" sldId="2147483648"/>
            <pc:sldLayoutMk cId="2002834051" sldId="2147483661"/>
          </pc:sldLayoutMkLst>
          <pc:spChg chg="mod">
            <ac:chgData name="Tobias Brammer" userId="80a1e1bd-3b82-47a5-b259-da62a397db92" providerId="ADAL" clId="{1E3A7C41-47CF-4BFD-8C66-533AAAACACA8}" dt="2023-02-28T05:57:37.142" v="1188" actId="948"/>
            <ac:spMkLst>
              <pc:docMk/>
              <pc:sldMasterMk cId="408341288" sldId="2147483648"/>
              <pc:sldLayoutMk cId="2002834051" sldId="2147483661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585" v="1752" actId="478"/>
            <ac:spMkLst>
              <pc:docMk/>
              <pc:sldMasterMk cId="408341288" sldId="2147483648"/>
              <pc:sldLayoutMk cId="2002834051" sldId="2147483661"/>
              <ac:spMk id="3" creationId="{8B51DB9A-1D16-F49D-CE99-2A4E463956EF}"/>
            </ac:spMkLst>
          </pc:spChg>
          <pc:spChg chg="mod">
            <ac:chgData name="Tobias Brammer" userId="80a1e1bd-3b82-47a5-b259-da62a397db92" providerId="ADAL" clId="{1E3A7C41-47CF-4BFD-8C66-533AAAACACA8}" dt="2023-02-28T05:57:36.495" v="695" actId="790"/>
            <ac:spMkLst>
              <pc:docMk/>
              <pc:sldMasterMk cId="408341288" sldId="2147483648"/>
              <pc:sldLayoutMk cId="2002834051" sldId="2147483661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95" v="696" actId="790"/>
            <ac:spMkLst>
              <pc:docMk/>
              <pc:sldMasterMk cId="408341288" sldId="2147483648"/>
              <pc:sldLayoutMk cId="2002834051" sldId="2147483661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95" v="697" actId="790"/>
            <ac:spMkLst>
              <pc:docMk/>
              <pc:sldMasterMk cId="408341288" sldId="2147483648"/>
              <pc:sldLayoutMk cId="2002834051" sldId="2147483661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495" v="698" actId="790"/>
            <ac:spMkLst>
              <pc:docMk/>
              <pc:sldMasterMk cId="408341288" sldId="2147483648"/>
              <pc:sldLayoutMk cId="2002834051" sldId="2147483661"/>
              <ac:spMk id="11" creationId="{40CE05F4-9D00-4DC5-A363-94352566B16D}"/>
            </ac:spMkLst>
          </pc:spChg>
          <pc:spChg chg="mod">
            <ac:chgData name="Tobias Brammer" userId="80a1e1bd-3b82-47a5-b259-da62a397db92" providerId="ADAL" clId="{1E3A7C41-47CF-4BFD-8C66-533AAAACACA8}" dt="2023-02-28T05:57:36.510" v="699" actId="790"/>
            <ac:spMkLst>
              <pc:docMk/>
              <pc:sldMasterMk cId="408341288" sldId="2147483648"/>
              <pc:sldLayoutMk cId="2002834051" sldId="2147483661"/>
              <ac:spMk id="13" creationId="{9DDCD743-188F-4B86-8747-1E373705BA9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00" v="1760" actId="1076"/>
            <ac:graphicFrameMkLst>
              <pc:docMk/>
              <pc:sldMasterMk cId="408341288" sldId="2147483648"/>
              <pc:sldLayoutMk cId="2002834051" sldId="2147483661"/>
              <ac:graphicFrameMk id="4" creationId="{ED0CD790-3C72-3174-9BB9-AAC04CCFEA37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02" v="1706" actId="1076"/>
          <pc:sldLayoutMkLst>
            <pc:docMk/>
            <pc:sldMasterMk cId="408341288" sldId="2147483648"/>
            <pc:sldLayoutMk cId="1215719097" sldId="2147483663"/>
          </pc:sldLayoutMkLst>
          <pc:spChg chg="mod">
            <ac:chgData name="Tobias Brammer" userId="80a1e1bd-3b82-47a5-b259-da62a397db92" providerId="ADAL" clId="{1E3A7C41-47CF-4BFD-8C66-533AAAACACA8}" dt="2023-02-28T05:57:36.995" v="972" actId="948"/>
            <ac:spMkLst>
              <pc:docMk/>
              <pc:sldMasterMk cId="408341288" sldId="2147483648"/>
              <pc:sldLayoutMk cId="1215719097" sldId="214748366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31" v="614" actId="790"/>
            <ac:spMkLst>
              <pc:docMk/>
              <pc:sldMasterMk cId="408341288" sldId="2147483648"/>
              <pc:sldLayoutMk cId="1215719097" sldId="2147483663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02" v="1698" actId="478"/>
            <ac:spMkLst>
              <pc:docMk/>
              <pc:sldMasterMk cId="408341288" sldId="2147483648"/>
              <pc:sldLayoutMk cId="1215719097" sldId="2147483663"/>
              <ac:spMk id="4" creationId="{0C24DDF2-72E1-5C5B-CB62-92949F989EF3}"/>
            </ac:spMkLst>
          </pc:spChg>
          <pc:spChg chg="mod">
            <ac:chgData name="Tobias Brammer" userId="80a1e1bd-3b82-47a5-b259-da62a397db92" providerId="ADAL" clId="{1E3A7C41-47CF-4BFD-8C66-533AAAACACA8}" dt="2023-02-28T05:57:36.331" v="615" actId="790"/>
            <ac:spMkLst>
              <pc:docMk/>
              <pc:sldMasterMk cId="408341288" sldId="2147483648"/>
              <pc:sldLayoutMk cId="1215719097" sldId="214748366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12" actId="790"/>
            <ac:spMkLst>
              <pc:docMk/>
              <pc:sldMasterMk cId="408341288" sldId="2147483648"/>
              <pc:sldLayoutMk cId="1215719097" sldId="214748366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31" v="616" actId="790"/>
            <ac:spMkLst>
              <pc:docMk/>
              <pc:sldMasterMk cId="408341288" sldId="2147483648"/>
              <pc:sldLayoutMk cId="1215719097" sldId="2147483663"/>
              <ac:spMk id="18" creationId="{16F701CD-4BAF-4794-A72E-193C61A403C3}"/>
            </ac:spMkLst>
          </pc:spChg>
          <pc:spChg chg="mod">
            <ac:chgData name="Tobias Brammer" userId="80a1e1bd-3b82-47a5-b259-da62a397db92" providerId="ADAL" clId="{1E3A7C41-47CF-4BFD-8C66-533AAAACACA8}" dt="2023-02-28T05:57:36.331" v="618" actId="947"/>
            <ac:spMkLst>
              <pc:docMk/>
              <pc:sldMasterMk cId="408341288" sldId="2147483648"/>
              <pc:sldLayoutMk cId="1215719097" sldId="2147483663"/>
              <ac:spMk id="22" creationId="{7B05331B-4732-4B64-9AE5-022C6BC76C13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02" v="1706" actId="1076"/>
            <ac:graphicFrameMkLst>
              <pc:docMk/>
              <pc:sldMasterMk cId="408341288" sldId="2147483648"/>
              <pc:sldLayoutMk cId="1215719097" sldId="2147483663"/>
              <ac:graphicFrameMk id="5" creationId="{7C26A0E6-6391-3B1A-8CE6-894498A6F9D0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87" v="1688" actId="1076"/>
          <pc:sldLayoutMkLst>
            <pc:docMk/>
            <pc:sldMasterMk cId="408341288" sldId="2147483648"/>
            <pc:sldLayoutMk cId="3653027901" sldId="2147483672"/>
          </pc:sldLayoutMkLst>
          <pc:spChg chg="mod">
            <ac:chgData name="Tobias Brammer" userId="80a1e1bd-3b82-47a5-b259-da62a397db92" providerId="ADAL" clId="{1E3A7C41-47CF-4BFD-8C66-533AAAACACA8}" dt="2023-02-28T05:57:36.948" v="900" actId="948"/>
            <ac:spMkLst>
              <pc:docMk/>
              <pc:sldMasterMk cId="408341288" sldId="2147483648"/>
              <pc:sldLayoutMk cId="3653027901" sldId="2147483672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08" actId="790"/>
            <ac:spMkLst>
              <pc:docMk/>
              <pc:sldMasterMk cId="408341288" sldId="2147483648"/>
              <pc:sldLayoutMk cId="3653027901" sldId="2147483672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71" v="1680" actId="478"/>
            <ac:spMkLst>
              <pc:docMk/>
              <pc:sldMasterMk cId="408341288" sldId="2147483648"/>
              <pc:sldLayoutMk cId="3653027901" sldId="2147483672"/>
              <ac:spMk id="4" creationId="{4E491861-420D-2A62-CD21-DBDBA777D9D3}"/>
            </ac:spMkLst>
          </pc:spChg>
          <pc:spChg chg="mod">
            <ac:chgData name="Tobias Brammer" userId="80a1e1bd-3b82-47a5-b259-da62a397db92" providerId="ADAL" clId="{1E3A7C41-47CF-4BFD-8C66-533AAAACACA8}" dt="2023-02-28T05:57:36.315" v="609" actId="790"/>
            <ac:spMkLst>
              <pc:docMk/>
              <pc:sldMasterMk cId="408341288" sldId="2147483648"/>
              <pc:sldLayoutMk cId="3653027901" sldId="2147483672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15" v="606" actId="790"/>
            <ac:spMkLst>
              <pc:docMk/>
              <pc:sldMasterMk cId="408341288" sldId="2147483648"/>
              <pc:sldLayoutMk cId="3653027901" sldId="2147483672"/>
              <ac:spMk id="17" creationId="{939632FF-44ED-498C-B1FE-ACE44FE1E8EF}"/>
            </ac:spMkLst>
          </pc:spChg>
          <pc:spChg chg="mod">
            <ac:chgData name="Tobias Brammer" userId="80a1e1bd-3b82-47a5-b259-da62a397db92" providerId="ADAL" clId="{1E3A7C41-47CF-4BFD-8C66-533AAAACACA8}" dt="2023-02-28T05:57:36.315" v="611" actId="947"/>
            <ac:spMkLst>
              <pc:docMk/>
              <pc:sldMasterMk cId="408341288" sldId="2147483648"/>
              <pc:sldLayoutMk cId="3653027901" sldId="2147483672"/>
              <ac:spMk id="28" creationId="{297EFA8A-BAF3-4E00-ABAE-12A3938FAD52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87" v="1688" actId="1076"/>
            <ac:graphicFrameMkLst>
              <pc:docMk/>
              <pc:sldMasterMk cId="408341288" sldId="2147483648"/>
              <pc:sldLayoutMk cId="3653027901" sldId="2147483672"/>
              <ac:graphicFrameMk id="5" creationId="{9C8B7415-416B-7FE1-937C-81DC5F7AF7F8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87" v="1697" actId="1076"/>
          <pc:sldLayoutMkLst>
            <pc:docMk/>
            <pc:sldMasterMk cId="408341288" sldId="2147483648"/>
            <pc:sldLayoutMk cId="2903942727" sldId="2147483673"/>
          </pc:sldLayoutMkLst>
          <pc:spChg chg="mod">
            <ac:chgData name="Tobias Brammer" userId="80a1e1bd-3b82-47a5-b259-da62a397db92" providerId="ADAL" clId="{1E3A7C41-47CF-4BFD-8C66-533AAAACACA8}" dt="2023-02-28T05:57:36.964" v="936" actId="948"/>
            <ac:spMkLst>
              <pc:docMk/>
              <pc:sldMasterMk cId="408341288" sldId="2147483648"/>
              <pc:sldLayoutMk cId="2903942727" sldId="2147483673"/>
              <ac:spMk id="2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46" v="621" actId="790"/>
            <ac:spMkLst>
              <pc:docMk/>
              <pc:sldMasterMk cId="408341288" sldId="2147483648"/>
              <pc:sldLayoutMk cId="2903942727" sldId="2147483673"/>
              <ac:spMk id="3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487" v="1689" actId="478"/>
            <ac:spMkLst>
              <pc:docMk/>
              <pc:sldMasterMk cId="408341288" sldId="2147483648"/>
              <pc:sldLayoutMk cId="2903942727" sldId="2147483673"/>
              <ac:spMk id="4" creationId="{9266C363-095A-36DB-3903-932BA916BB83}"/>
            </ac:spMkLst>
          </pc:spChg>
          <pc:spChg chg="mod">
            <ac:chgData name="Tobias Brammer" userId="80a1e1bd-3b82-47a5-b259-da62a397db92" providerId="ADAL" clId="{1E3A7C41-47CF-4BFD-8C66-533AAAACACA8}" dt="2023-02-28T05:57:36.348" v="624" actId="790"/>
            <ac:spMkLst>
              <pc:docMk/>
              <pc:sldMasterMk cId="408341288" sldId="2147483648"/>
              <pc:sldLayoutMk cId="2903942727" sldId="214748367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31" v="619" actId="790"/>
            <ac:spMkLst>
              <pc:docMk/>
              <pc:sldMasterMk cId="408341288" sldId="2147483648"/>
              <pc:sldLayoutMk cId="2903942727" sldId="214748367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48" v="625" actId="790"/>
            <ac:spMkLst>
              <pc:docMk/>
              <pc:sldMasterMk cId="408341288" sldId="2147483648"/>
              <pc:sldLayoutMk cId="2903942727" sldId="2147483673"/>
              <ac:spMk id="11" creationId="{64FB9D14-6354-4776-99DE-6F2AC7FCCC10}"/>
            </ac:spMkLst>
          </pc:spChg>
          <pc:spChg chg="mod">
            <ac:chgData name="Tobias Brammer" userId="80a1e1bd-3b82-47a5-b259-da62a397db92" providerId="ADAL" clId="{1E3A7C41-47CF-4BFD-8C66-533AAAACACA8}" dt="2023-02-28T05:57:36.348" v="623" actId="947"/>
            <ac:spMkLst>
              <pc:docMk/>
              <pc:sldMasterMk cId="408341288" sldId="2147483648"/>
              <pc:sldLayoutMk cId="2903942727" sldId="2147483673"/>
              <ac:spMk id="15" creationId="{D3B39772-6EF8-414F-B8CA-9572DA8DE67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87" v="1697" actId="1076"/>
            <ac:graphicFrameMkLst>
              <pc:docMk/>
              <pc:sldMasterMk cId="408341288" sldId="2147483648"/>
              <pc:sldLayoutMk cId="2903942727" sldId="2147483673"/>
              <ac:graphicFrameMk id="5" creationId="{13B33204-4D07-26B3-C91D-431E834A3215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18" v="1715" actId="1076"/>
          <pc:sldLayoutMkLst>
            <pc:docMk/>
            <pc:sldMasterMk cId="408341288" sldId="2147483648"/>
            <pc:sldLayoutMk cId="3777408618" sldId="2147483675"/>
          </pc:sldLayoutMkLst>
          <pc:spChg chg="mod">
            <ac:chgData name="Tobias Brammer" userId="80a1e1bd-3b82-47a5-b259-da62a397db92" providerId="ADAL" clId="{1E3A7C41-47CF-4BFD-8C66-533AAAACACA8}" dt="2023-02-28T05:57:37.011" v="1008" actId="948"/>
            <ac:spMkLst>
              <pc:docMk/>
              <pc:sldMasterMk cId="408341288" sldId="2147483648"/>
              <pc:sldLayoutMk cId="3777408618" sldId="2147483675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02" v="1707" actId="478"/>
            <ac:spMkLst>
              <pc:docMk/>
              <pc:sldMasterMk cId="408341288" sldId="2147483648"/>
              <pc:sldLayoutMk cId="3777408618" sldId="2147483675"/>
              <ac:spMk id="3" creationId="{55ED0FDF-648C-3FF7-15C4-A66690099AB4}"/>
            </ac:spMkLst>
          </pc:spChg>
          <pc:spChg chg="mod">
            <ac:chgData name="Tobias Brammer" userId="80a1e1bd-3b82-47a5-b259-da62a397db92" providerId="ADAL" clId="{1E3A7C41-47CF-4BFD-8C66-533AAAACACA8}" dt="2023-02-28T05:57:36.348" v="627" actId="790"/>
            <ac:spMkLst>
              <pc:docMk/>
              <pc:sldMasterMk cId="408341288" sldId="2147483648"/>
              <pc:sldLayoutMk cId="3777408618" sldId="2147483675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48" v="626" actId="790"/>
            <ac:spMkLst>
              <pc:docMk/>
              <pc:sldMasterMk cId="408341288" sldId="2147483648"/>
              <pc:sldLayoutMk cId="3777408618" sldId="2147483675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364" v="631" actId="790"/>
            <ac:spMkLst>
              <pc:docMk/>
              <pc:sldMasterMk cId="408341288" sldId="2147483648"/>
              <pc:sldLayoutMk cId="3777408618" sldId="2147483675"/>
              <ac:spMk id="10" creationId="{4E5F478B-2AF2-4DD2-BB59-38960637209E}"/>
            </ac:spMkLst>
          </pc:spChg>
          <pc:spChg chg="mod">
            <ac:chgData name="Tobias Brammer" userId="80a1e1bd-3b82-47a5-b259-da62a397db92" providerId="ADAL" clId="{1E3A7C41-47CF-4BFD-8C66-533AAAACACA8}" dt="2023-02-28T05:57:36.348" v="629" actId="947"/>
            <ac:spMkLst>
              <pc:docMk/>
              <pc:sldMasterMk cId="408341288" sldId="2147483648"/>
              <pc:sldLayoutMk cId="3777408618" sldId="2147483675"/>
              <ac:spMk id="12" creationId="{3E26791D-912A-4A89-B575-16A619848A0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18" v="1715" actId="1076"/>
            <ac:graphicFrameMkLst>
              <pc:docMk/>
              <pc:sldMasterMk cId="408341288" sldId="2147483648"/>
              <pc:sldLayoutMk cId="3777408618" sldId="2147483675"/>
              <ac:graphicFrameMk id="4" creationId="{EE13597B-E899-28DA-2685-B261BE4EC78C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34" v="1724" actId="1076"/>
          <pc:sldLayoutMkLst>
            <pc:docMk/>
            <pc:sldMasterMk cId="408341288" sldId="2147483648"/>
            <pc:sldLayoutMk cId="803479191" sldId="2147483676"/>
          </pc:sldLayoutMkLst>
          <pc:spChg chg="mod">
            <ac:chgData name="Tobias Brammer" userId="80a1e1bd-3b82-47a5-b259-da62a397db92" providerId="ADAL" clId="{1E3A7C41-47CF-4BFD-8C66-533AAAACACA8}" dt="2023-02-28T05:57:37.048" v="1044" actId="948"/>
            <ac:spMkLst>
              <pc:docMk/>
              <pc:sldMasterMk cId="408341288" sldId="2147483648"/>
              <pc:sldLayoutMk cId="803479191" sldId="2147483676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18" v="1716" actId="478"/>
            <ac:spMkLst>
              <pc:docMk/>
              <pc:sldMasterMk cId="408341288" sldId="2147483648"/>
              <pc:sldLayoutMk cId="803479191" sldId="2147483676"/>
              <ac:spMk id="3" creationId="{5E2BC3CA-997B-E9AA-C116-58430ED5E0EC}"/>
            </ac:spMkLst>
          </pc:spChg>
          <pc:spChg chg="mod">
            <ac:chgData name="Tobias Brammer" userId="80a1e1bd-3b82-47a5-b259-da62a397db92" providerId="ADAL" clId="{1E3A7C41-47CF-4BFD-8C66-533AAAACACA8}" dt="2023-02-28T05:57:36.364" v="633" actId="790"/>
            <ac:spMkLst>
              <pc:docMk/>
              <pc:sldMasterMk cId="408341288" sldId="2147483648"/>
              <pc:sldLayoutMk cId="803479191" sldId="2147483676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364" v="638" actId="790"/>
            <ac:spMkLst>
              <pc:docMk/>
              <pc:sldMasterMk cId="408341288" sldId="2147483648"/>
              <pc:sldLayoutMk cId="803479191" sldId="2147483676"/>
              <ac:spMk id="12" creationId="{7D216729-A8D1-4335-BE16-89F4384AC488}"/>
            </ac:spMkLst>
          </pc:spChg>
          <pc:spChg chg="mod">
            <ac:chgData name="Tobias Brammer" userId="80a1e1bd-3b82-47a5-b259-da62a397db92" providerId="ADAL" clId="{1E3A7C41-47CF-4BFD-8C66-533AAAACACA8}" dt="2023-02-28T05:57:36.364" v="635" actId="947"/>
            <ac:spMkLst>
              <pc:docMk/>
              <pc:sldMasterMk cId="408341288" sldId="2147483648"/>
              <pc:sldLayoutMk cId="803479191" sldId="2147483676"/>
              <ac:spMk id="32" creationId="{A3BB2A3B-E5DD-409B-948F-9E8E9C0DE4C3}"/>
            </ac:spMkLst>
          </pc:spChg>
          <pc:spChg chg="mod">
            <ac:chgData name="Tobias Brammer" userId="80a1e1bd-3b82-47a5-b259-da62a397db92" providerId="ADAL" clId="{1E3A7C41-47CF-4BFD-8C66-533AAAACACA8}" dt="2023-02-28T05:57:36.364" v="637" actId="947"/>
            <ac:spMkLst>
              <pc:docMk/>
              <pc:sldMasterMk cId="408341288" sldId="2147483648"/>
              <pc:sldLayoutMk cId="803479191" sldId="2147483676"/>
              <ac:spMk id="34" creationId="{D8329A9B-7465-4D18-8C10-A6F4DC3954E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34" v="1724" actId="1076"/>
            <ac:graphicFrameMkLst>
              <pc:docMk/>
              <pc:sldMasterMk cId="408341288" sldId="2147483648"/>
              <pc:sldLayoutMk cId="803479191" sldId="2147483676"/>
              <ac:graphicFrameMk id="4" creationId="{E19A314B-22AD-EFCE-EA25-5C90DBDE93F0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69" v="1742" actId="1076"/>
          <pc:sldLayoutMkLst>
            <pc:docMk/>
            <pc:sldMasterMk cId="408341288" sldId="2147483648"/>
            <pc:sldLayoutMk cId="1348899113" sldId="2147483677"/>
          </pc:sldLayoutMkLst>
          <pc:spChg chg="mod">
            <ac:chgData name="Tobias Brammer" userId="80a1e1bd-3b82-47a5-b259-da62a397db92" providerId="ADAL" clId="{1E3A7C41-47CF-4BFD-8C66-533AAAACACA8}" dt="2023-02-28T05:57:37.095" v="1116" actId="948"/>
            <ac:spMkLst>
              <pc:docMk/>
              <pc:sldMasterMk cId="408341288" sldId="2147483648"/>
              <pc:sldLayoutMk cId="1348899113" sldId="2147483677"/>
              <ac:spMk id="2" creationId="{00000000-0000-0000-0000-000000000000}"/>
            </ac:spMkLst>
          </pc:spChg>
          <pc:spChg chg="del mod modVis">
            <ac:chgData name="Tobias Brammer" userId="80a1e1bd-3b82-47a5-b259-da62a397db92" providerId="ADAL" clId="{1E3A7C41-47CF-4BFD-8C66-533AAAACACA8}" dt="2023-02-28T05:57:37.549" v="1734" actId="478"/>
            <ac:spMkLst>
              <pc:docMk/>
              <pc:sldMasterMk cId="408341288" sldId="2147483648"/>
              <pc:sldLayoutMk cId="1348899113" sldId="2147483677"/>
              <ac:spMk id="3" creationId="{C3010575-1E18-D458-5ED5-3C7B51816370}"/>
            </ac:spMkLst>
          </pc:spChg>
          <pc:spChg chg="mod">
            <ac:chgData name="Tobias Brammer" userId="80a1e1bd-3b82-47a5-b259-da62a397db92" providerId="ADAL" clId="{1E3A7C41-47CF-4BFD-8C66-533AAAACACA8}" dt="2023-02-28T05:57:36.379" v="646" actId="790"/>
            <ac:spMkLst>
              <pc:docMk/>
              <pc:sldMasterMk cId="408341288" sldId="2147483648"/>
              <pc:sldLayoutMk cId="1348899113" sldId="2147483677"/>
              <ac:spMk id="8" creationId="{7671330B-AAC6-4622-ACF3-38A722115B2D}"/>
            </ac:spMkLst>
          </pc:spChg>
          <pc:spChg chg="mod">
            <ac:chgData name="Tobias Brammer" userId="80a1e1bd-3b82-47a5-b259-da62a397db92" providerId="ADAL" clId="{1E3A7C41-47CF-4BFD-8C66-533AAAACACA8}" dt="2023-02-28T05:57:36.395" v="648" actId="947"/>
            <ac:spMkLst>
              <pc:docMk/>
              <pc:sldMasterMk cId="408341288" sldId="2147483648"/>
              <pc:sldLayoutMk cId="1348899113" sldId="2147483677"/>
              <ac:spMk id="10" creationId="{CDB01046-B639-4C51-B121-93BF127467C5}"/>
            </ac:spMkLst>
          </pc:spChg>
          <pc:spChg chg="mod">
            <ac:chgData name="Tobias Brammer" userId="80a1e1bd-3b82-47a5-b259-da62a397db92" providerId="ADAL" clId="{1E3A7C41-47CF-4BFD-8C66-533AAAACACA8}" dt="2023-02-28T05:57:36.395" v="650" actId="947"/>
            <ac:spMkLst>
              <pc:docMk/>
              <pc:sldMasterMk cId="408341288" sldId="2147483648"/>
              <pc:sldLayoutMk cId="1348899113" sldId="2147483677"/>
              <ac:spMk id="12" creationId="{0941A88B-2C47-4D26-B718-CF388930B536}"/>
            </ac:spMkLst>
          </pc:spChg>
          <pc:spChg chg="mod">
            <ac:chgData name="Tobias Brammer" userId="80a1e1bd-3b82-47a5-b259-da62a397db92" providerId="ADAL" clId="{1E3A7C41-47CF-4BFD-8C66-533AAAACACA8}" dt="2023-02-28T05:57:36.395" v="652" actId="790"/>
            <ac:spMkLst>
              <pc:docMk/>
              <pc:sldMasterMk cId="408341288" sldId="2147483648"/>
              <pc:sldLayoutMk cId="1348899113" sldId="2147483677"/>
              <ac:spMk id="16" creationId="{5C039EB7-1A5B-4652-B373-381F14A78A78}"/>
            </ac:spMkLst>
          </pc:spChg>
          <pc:spChg chg="mod">
            <ac:chgData name="Tobias Brammer" userId="80a1e1bd-3b82-47a5-b259-da62a397db92" providerId="ADAL" clId="{1E3A7C41-47CF-4BFD-8C66-533AAAACACA8}" dt="2023-02-28T05:57:36.395" v="651" actId="790"/>
            <ac:spMkLst>
              <pc:docMk/>
              <pc:sldMasterMk cId="408341288" sldId="2147483648"/>
              <pc:sldLayoutMk cId="1348899113" sldId="2147483677"/>
              <ac:spMk id="17" creationId="{0496EE00-B7B1-4FBC-AE5D-1ED4C224E89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69" v="1742" actId="1076"/>
            <ac:graphicFrameMkLst>
              <pc:docMk/>
              <pc:sldMasterMk cId="408341288" sldId="2147483648"/>
              <pc:sldLayoutMk cId="1348899113" sldId="2147483677"/>
              <ac:graphicFrameMk id="4" creationId="{C8E3A7EA-62A4-417F-AC41-59F565D68C59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31" v="1777" actId="1076"/>
          <pc:sldLayoutMkLst>
            <pc:docMk/>
            <pc:sldMasterMk cId="408341288" sldId="2147483648"/>
            <pc:sldLayoutMk cId="1421122532" sldId="2147483678"/>
          </pc:sldLayoutMkLst>
          <pc:spChg chg="mod">
            <ac:chgData name="Tobias Brammer" userId="80a1e1bd-3b82-47a5-b259-da62a397db92" providerId="ADAL" clId="{1E3A7C41-47CF-4BFD-8C66-533AAAACACA8}" dt="2023-02-28T05:57:36.548" v="720" actId="790"/>
            <ac:spMkLst>
              <pc:docMk/>
              <pc:sldMasterMk cId="408341288" sldId="2147483648"/>
              <pc:sldLayoutMk cId="1421122532" sldId="2147483678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548" v="718" actId="790"/>
            <ac:spMkLst>
              <pc:docMk/>
              <pc:sldMasterMk cId="408341288" sldId="2147483648"/>
              <pc:sldLayoutMk cId="1421122532" sldId="2147483678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563" v="726" actId="790"/>
            <ac:spMkLst>
              <pc:docMk/>
              <pc:sldMasterMk cId="408341288" sldId="2147483648"/>
              <pc:sldLayoutMk cId="1421122532" sldId="2147483678"/>
              <ac:spMk id="12" creationId="{FBAD2409-8FA6-44A8-980A-AC5EF1EDB95E}"/>
            </ac:spMkLst>
          </pc:spChg>
          <pc:spChg chg="mod">
            <ac:chgData name="Tobias Brammer" userId="80a1e1bd-3b82-47a5-b259-da62a397db92" providerId="ADAL" clId="{1E3A7C41-47CF-4BFD-8C66-533AAAACACA8}" dt="2023-02-28T05:57:36.548" v="721" actId="790"/>
            <ac:spMkLst>
              <pc:docMk/>
              <pc:sldMasterMk cId="408341288" sldId="2147483648"/>
              <pc:sldLayoutMk cId="1421122532" sldId="2147483678"/>
              <ac:spMk id="28" creationId="{B631F2FF-4D98-41D0-99C3-F0535BA34965}"/>
            </ac:spMkLst>
          </pc:spChg>
          <pc:spChg chg="mod">
            <ac:chgData name="Tobias Brammer" userId="80a1e1bd-3b82-47a5-b259-da62a397db92" providerId="ADAL" clId="{1E3A7C41-47CF-4BFD-8C66-533AAAACACA8}" dt="2023-02-28T05:57:36.548" v="722" actId="790"/>
            <ac:spMkLst>
              <pc:docMk/>
              <pc:sldMasterMk cId="408341288" sldId="2147483648"/>
              <pc:sldLayoutMk cId="1421122532" sldId="2147483678"/>
              <ac:spMk id="29" creationId="{7D86C3A8-CC69-48DD-A8AB-DA43FCA85FF9}"/>
            </ac:spMkLst>
          </pc:spChg>
          <pc:spChg chg="mod">
            <ac:chgData name="Tobias Brammer" userId="80a1e1bd-3b82-47a5-b259-da62a397db92" providerId="ADAL" clId="{1E3A7C41-47CF-4BFD-8C66-533AAAACACA8}" dt="2023-02-28T05:57:36.563" v="723" actId="790"/>
            <ac:spMkLst>
              <pc:docMk/>
              <pc:sldMasterMk cId="408341288" sldId="2147483648"/>
              <pc:sldLayoutMk cId="1421122532" sldId="2147483678"/>
              <ac:spMk id="30" creationId="{AF9B4576-96C2-4288-8D1B-684C7112FCDF}"/>
            </ac:spMkLst>
          </pc:spChg>
          <pc:spChg chg="mod">
            <ac:chgData name="Tobias Brammer" userId="80a1e1bd-3b82-47a5-b259-da62a397db92" providerId="ADAL" clId="{1E3A7C41-47CF-4BFD-8C66-533AAAACACA8}" dt="2023-02-28T05:57:36.563" v="725" actId="947"/>
            <ac:spMkLst>
              <pc:docMk/>
              <pc:sldMasterMk cId="408341288" sldId="2147483648"/>
              <pc:sldLayoutMk cId="1421122532" sldId="2147483678"/>
              <ac:spMk id="33" creationId="{3F8274B9-A14B-4EF8-8547-543E8342075F}"/>
            </ac:spMkLst>
          </pc:spChg>
          <pc:spChg chg="mod">
            <ac:chgData name="Tobias Brammer" userId="80a1e1bd-3b82-47a5-b259-da62a397db92" providerId="ADAL" clId="{1E3A7C41-47CF-4BFD-8C66-533AAAACACA8}" dt="2023-02-28T05:57:36.548" v="719" actId="790"/>
            <ac:spMkLst>
              <pc:docMk/>
              <pc:sldMasterMk cId="408341288" sldId="2147483648"/>
              <pc:sldLayoutMk cId="1421122532" sldId="2147483678"/>
              <ac:spMk id="36" creationId="{E965B3AD-EE9F-4A21-8AAE-0CF487A6FB7B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31" v="1777" actId="1076"/>
            <ac:graphicFrameMkLst>
              <pc:docMk/>
              <pc:sldMasterMk cId="408341288" sldId="2147483648"/>
              <pc:sldLayoutMk cId="1421122532" sldId="2147483678"/>
              <ac:graphicFrameMk id="2" creationId="{AF0513D3-A647-9A26-7977-459430610D1B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96" v="1811" actId="1076"/>
          <pc:sldLayoutMkLst>
            <pc:docMk/>
            <pc:sldMasterMk cId="408341288" sldId="2147483648"/>
            <pc:sldLayoutMk cId="1013684879" sldId="2147483679"/>
          </pc:sldLayoutMkLst>
          <pc:spChg chg="mod">
            <ac:chgData name="Tobias Brammer" userId="80a1e1bd-3b82-47a5-b259-da62a397db92" providerId="ADAL" clId="{1E3A7C41-47CF-4BFD-8C66-533AAAACACA8}" dt="2023-02-28T05:57:36.563" v="730" actId="790"/>
            <ac:spMkLst>
              <pc:docMk/>
              <pc:sldMasterMk cId="408341288" sldId="2147483648"/>
              <pc:sldLayoutMk cId="1013684879" sldId="2147483679"/>
              <ac:spMk id="7" creationId="{FA5094E7-11C9-418B-BA06-9C3719BEDDDA}"/>
            </ac:spMkLst>
          </pc:spChg>
          <pc:spChg chg="mod">
            <ac:chgData name="Tobias Brammer" userId="80a1e1bd-3b82-47a5-b259-da62a397db92" providerId="ADAL" clId="{1E3A7C41-47CF-4BFD-8C66-533AAAACACA8}" dt="2023-02-28T05:57:36.563" v="731" actId="790"/>
            <ac:spMkLst>
              <pc:docMk/>
              <pc:sldMasterMk cId="408341288" sldId="2147483648"/>
              <pc:sldLayoutMk cId="1013684879" sldId="2147483679"/>
              <ac:spMk id="9" creationId="{7903A596-7BB0-412B-B416-763BFCF93DA7}"/>
            </ac:spMkLst>
          </pc:spChg>
          <pc:spChg chg="mod">
            <ac:chgData name="Tobias Brammer" userId="80a1e1bd-3b82-47a5-b259-da62a397db92" providerId="ADAL" clId="{1E3A7C41-47CF-4BFD-8C66-533AAAACACA8}" dt="2023-02-28T05:57:36.563" v="727" actId="790"/>
            <ac:spMkLst>
              <pc:docMk/>
              <pc:sldMasterMk cId="408341288" sldId="2147483648"/>
              <pc:sldLayoutMk cId="1013684879" sldId="2147483679"/>
              <ac:spMk id="10" creationId="{EC54937F-5C47-47DE-BBED-0C6D35450F6A}"/>
            </ac:spMkLst>
          </pc:spChg>
          <pc:spChg chg="mod">
            <ac:chgData name="Tobias Brammer" userId="80a1e1bd-3b82-47a5-b259-da62a397db92" providerId="ADAL" clId="{1E3A7C41-47CF-4BFD-8C66-533AAAACACA8}" dt="2023-02-28T05:57:36.563" v="728" actId="790"/>
            <ac:spMkLst>
              <pc:docMk/>
              <pc:sldMasterMk cId="408341288" sldId="2147483648"/>
              <pc:sldLayoutMk cId="1013684879" sldId="2147483679"/>
              <ac:spMk id="11" creationId="{4214CA9E-C795-4866-9FF0-38C28911BB9D}"/>
            </ac:spMkLst>
          </pc:spChg>
          <pc:spChg chg="mod">
            <ac:chgData name="Tobias Brammer" userId="80a1e1bd-3b82-47a5-b259-da62a397db92" providerId="ADAL" clId="{1E3A7C41-47CF-4BFD-8C66-533AAAACACA8}" dt="2023-02-28T05:57:36.563" v="729" actId="790"/>
            <ac:spMkLst>
              <pc:docMk/>
              <pc:sldMasterMk cId="408341288" sldId="2147483648"/>
              <pc:sldLayoutMk cId="1013684879" sldId="2147483679"/>
              <ac:spMk id="12" creationId="{C971CBE6-8195-46E1-AEA2-BD555ECCC0A9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96" v="1811" actId="1076"/>
            <ac:graphicFrameMkLst>
              <pc:docMk/>
              <pc:sldMasterMk cId="408341288" sldId="2147483648"/>
              <pc:sldLayoutMk cId="1013684879" sldId="2147483679"/>
              <ac:graphicFrameMk id="2" creationId="{EC12F142-4E09-486C-70DF-B4359EB7A1E0}"/>
            </ac:graphicFrameMkLst>
          </pc:graphicFrameChg>
        </pc:sldLayoutChg>
        <pc:sldLayoutChg chg="modSp mod">
          <pc:chgData name="Tobias Brammer" userId="80a1e1bd-3b82-47a5-b259-da62a397db92" providerId="ADAL" clId="{1E3A7C41-47CF-4BFD-8C66-533AAAACACA8}" dt="2023-02-28T05:57:37.664" v="1794" actId="1076"/>
          <pc:sldLayoutMkLst>
            <pc:docMk/>
            <pc:sldMasterMk cId="408341288" sldId="2147483648"/>
            <pc:sldLayoutMk cId="3945193607" sldId="2147483680"/>
          </pc:sldLayoutMkLst>
          <pc:spChg chg="mod">
            <ac:chgData name="Tobias Brammer" userId="80a1e1bd-3b82-47a5-b259-da62a397db92" providerId="ADAL" clId="{1E3A7C41-47CF-4BFD-8C66-533AAAACACA8}" dt="2023-02-28T05:57:36.595" v="746" actId="790"/>
            <ac:spMkLst>
              <pc:docMk/>
              <pc:sldMasterMk cId="408341288" sldId="2147483648"/>
              <pc:sldLayoutMk cId="3945193607" sldId="2147483680"/>
              <ac:spMk id="4" creationId="{87C095F8-A024-4A35-99AE-5042B63313B1}"/>
            </ac:spMkLst>
          </pc:spChg>
          <pc:spChg chg="mod">
            <ac:chgData name="Tobias Brammer" userId="80a1e1bd-3b82-47a5-b259-da62a397db92" providerId="ADAL" clId="{1E3A7C41-47CF-4BFD-8C66-533AAAACACA8}" dt="2023-02-28T05:57:36.579" v="734" actId="790"/>
            <ac:spMkLst>
              <pc:docMk/>
              <pc:sldMasterMk cId="408341288" sldId="2147483648"/>
              <pc:sldLayoutMk cId="3945193607" sldId="2147483680"/>
              <ac:spMk id="10" creationId="{B1EB893E-E72C-4865-BCEB-316B4E1923B0}"/>
            </ac:spMkLst>
          </pc:spChg>
          <pc:spChg chg="mod">
            <ac:chgData name="Tobias Brammer" userId="80a1e1bd-3b82-47a5-b259-da62a397db92" providerId="ADAL" clId="{1E3A7C41-47CF-4BFD-8C66-533AAAACACA8}" dt="2023-02-28T05:57:36.579" v="736" actId="947"/>
            <ac:spMkLst>
              <pc:docMk/>
              <pc:sldMasterMk cId="408341288" sldId="2147483648"/>
              <pc:sldLayoutMk cId="3945193607" sldId="2147483680"/>
              <ac:spMk id="15" creationId="{0361AE4B-7609-4632-9401-0DC42BA537BD}"/>
            </ac:spMkLst>
          </pc:spChg>
          <pc:spChg chg="mod">
            <ac:chgData name="Tobias Brammer" userId="80a1e1bd-3b82-47a5-b259-da62a397db92" providerId="ADAL" clId="{1E3A7C41-47CF-4BFD-8C66-533AAAACACA8}" dt="2023-02-28T05:57:36.579" v="738" actId="947"/>
            <ac:spMkLst>
              <pc:docMk/>
              <pc:sldMasterMk cId="408341288" sldId="2147483648"/>
              <pc:sldLayoutMk cId="3945193607" sldId="2147483680"/>
              <ac:spMk id="16" creationId="{37E301B3-E7D6-40A4-963F-25C6883E5A50}"/>
            </ac:spMkLst>
          </pc:spChg>
          <pc:spChg chg="mod">
            <ac:chgData name="Tobias Brammer" userId="80a1e1bd-3b82-47a5-b259-da62a397db92" providerId="ADAL" clId="{1E3A7C41-47CF-4BFD-8C66-533AAAACACA8}" dt="2023-02-28T05:57:36.579" v="745" actId="790"/>
            <ac:spMkLst>
              <pc:docMk/>
              <pc:sldMasterMk cId="408341288" sldId="2147483648"/>
              <pc:sldLayoutMk cId="3945193607" sldId="2147483680"/>
              <ac:spMk id="17" creationId="{11958930-3179-4A2E-8155-875EC59FE57F}"/>
            </ac:spMkLst>
          </pc:spChg>
          <pc:spChg chg="mod">
            <ac:chgData name="Tobias Brammer" userId="80a1e1bd-3b82-47a5-b259-da62a397db92" providerId="ADAL" clId="{1E3A7C41-47CF-4BFD-8C66-533AAAACACA8}" dt="2023-02-28T05:57:36.579" v="740" actId="947"/>
            <ac:spMkLst>
              <pc:docMk/>
              <pc:sldMasterMk cId="408341288" sldId="2147483648"/>
              <pc:sldLayoutMk cId="3945193607" sldId="2147483680"/>
              <ac:spMk id="20" creationId="{E1A26097-CD01-4F99-BE32-FB4F5B7EEBCC}"/>
            </ac:spMkLst>
          </pc:spChg>
          <pc:spChg chg="mod">
            <ac:chgData name="Tobias Brammer" userId="80a1e1bd-3b82-47a5-b259-da62a397db92" providerId="ADAL" clId="{1E3A7C41-47CF-4BFD-8C66-533AAAACACA8}" dt="2023-02-28T05:57:36.579" v="742" actId="947"/>
            <ac:spMkLst>
              <pc:docMk/>
              <pc:sldMasterMk cId="408341288" sldId="2147483648"/>
              <pc:sldLayoutMk cId="3945193607" sldId="2147483680"/>
              <ac:spMk id="21" creationId="{5A838974-69ED-4C19-A90E-05DBD42D201D}"/>
            </ac:spMkLst>
          </pc:spChg>
          <pc:spChg chg="mod">
            <ac:chgData name="Tobias Brammer" userId="80a1e1bd-3b82-47a5-b259-da62a397db92" providerId="ADAL" clId="{1E3A7C41-47CF-4BFD-8C66-533AAAACACA8}" dt="2023-02-28T05:57:36.579" v="743" actId="790"/>
            <ac:spMkLst>
              <pc:docMk/>
              <pc:sldMasterMk cId="408341288" sldId="2147483648"/>
              <pc:sldLayoutMk cId="3945193607" sldId="2147483680"/>
              <ac:spMk id="22" creationId="{A956F20C-AA17-48A2-83B5-1B535A976945}"/>
            </ac:spMkLst>
          </pc:spChg>
          <pc:spChg chg="mod">
            <ac:chgData name="Tobias Brammer" userId="80a1e1bd-3b82-47a5-b259-da62a397db92" providerId="ADAL" clId="{1E3A7C41-47CF-4BFD-8C66-533AAAACACA8}" dt="2023-02-28T05:57:36.579" v="744" actId="790"/>
            <ac:spMkLst>
              <pc:docMk/>
              <pc:sldMasterMk cId="408341288" sldId="2147483648"/>
              <pc:sldLayoutMk cId="3945193607" sldId="2147483680"/>
              <ac:spMk id="37" creationId="{DBA9BEEB-9A9C-4E0D-B111-7218E5CD52D1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64" v="1794" actId="1076"/>
            <ac:graphicFrameMkLst>
              <pc:docMk/>
              <pc:sldMasterMk cId="408341288" sldId="2147483648"/>
              <pc:sldLayoutMk cId="3945193607" sldId="2147483680"/>
              <ac:graphicFrameMk id="2" creationId="{B2B34963-242D-90C7-1E7A-AB958EBC24B4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11" v="1820" actId="1076"/>
          <pc:sldLayoutMkLst>
            <pc:docMk/>
            <pc:sldMasterMk cId="408341288" sldId="2147483648"/>
            <pc:sldLayoutMk cId="547289489" sldId="2147483681"/>
          </pc:sldLayoutMkLst>
          <pc:spChg chg="mod">
            <ac:chgData name="Tobias Brammer" userId="80a1e1bd-3b82-47a5-b259-da62a397db92" providerId="ADAL" clId="{1E3A7C41-47CF-4BFD-8C66-533AAAACACA8}" dt="2023-02-28T05:57:37.242" v="1332" actId="948"/>
            <ac:spMkLst>
              <pc:docMk/>
              <pc:sldMasterMk cId="408341288" sldId="2147483648"/>
              <pc:sldLayoutMk cId="547289489" sldId="2147483681"/>
              <ac:spMk id="2" creationId="{A45B6DFC-9623-4183-8403-5AF3E92605AA}"/>
            </ac:spMkLst>
          </pc:spChg>
          <pc:spChg chg="del mod modVis">
            <ac:chgData name="Tobias Brammer" userId="80a1e1bd-3b82-47a5-b259-da62a397db92" providerId="ADAL" clId="{1E3A7C41-47CF-4BFD-8C66-533AAAACACA8}" dt="2023-02-28T05:57:37.696" v="1812" actId="478"/>
            <ac:spMkLst>
              <pc:docMk/>
              <pc:sldMasterMk cId="408341288" sldId="2147483648"/>
              <pc:sldLayoutMk cId="547289489" sldId="2147483681"/>
              <ac:spMk id="3" creationId="{A7B256D0-0A5B-F73E-2960-ABC9DE017F75}"/>
            </ac:spMkLst>
          </pc:spChg>
          <pc:spChg chg="mod">
            <ac:chgData name="Tobias Brammer" userId="80a1e1bd-3b82-47a5-b259-da62a397db92" providerId="ADAL" clId="{1E3A7C41-47CF-4BFD-8C66-533AAAACACA8}" dt="2023-02-28T05:57:36.411" v="661" actId="790"/>
            <ac:spMkLst>
              <pc:docMk/>
              <pc:sldMasterMk cId="408341288" sldId="2147483648"/>
              <pc:sldLayoutMk cId="547289489" sldId="2147483681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1E3A7C41-47CF-4BFD-8C66-533AAAACACA8}" dt="2023-02-28T05:57:36.411" v="659" actId="790"/>
            <ac:spMkLst>
              <pc:docMk/>
              <pc:sldMasterMk cId="408341288" sldId="2147483648"/>
              <pc:sldLayoutMk cId="547289489" sldId="2147483681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1E3A7C41-47CF-4BFD-8C66-533AAAACACA8}" dt="2023-02-28T05:57:36.411" v="662" actId="790"/>
            <ac:spMkLst>
              <pc:docMk/>
              <pc:sldMasterMk cId="408341288" sldId="2147483648"/>
              <pc:sldLayoutMk cId="547289489" sldId="2147483681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1E3A7C41-47CF-4BFD-8C66-533AAAACACA8}" dt="2023-02-28T05:57:36.426" v="664" actId="947"/>
            <ac:spMkLst>
              <pc:docMk/>
              <pc:sldMasterMk cId="408341288" sldId="2147483648"/>
              <pc:sldLayoutMk cId="547289489" sldId="2147483681"/>
              <ac:spMk id="13" creationId="{C967A86E-1E38-460F-9723-9D24C8DEEF8B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11" v="1820" actId="1076"/>
            <ac:graphicFrameMkLst>
              <pc:docMk/>
              <pc:sldMasterMk cId="408341288" sldId="2147483648"/>
              <pc:sldLayoutMk cId="547289489" sldId="2147483681"/>
              <ac:graphicFrameMk id="4" creationId="{F3EE7813-74C2-F8E1-D412-BE30BC2B57C4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27" v="1829" actId="1076"/>
          <pc:sldLayoutMkLst>
            <pc:docMk/>
            <pc:sldMasterMk cId="408341288" sldId="2147483648"/>
            <pc:sldLayoutMk cId="1364635059" sldId="2147483682"/>
          </pc:sldLayoutMkLst>
          <pc:spChg chg="mod">
            <ac:chgData name="Tobias Brammer" userId="80a1e1bd-3b82-47a5-b259-da62a397db92" providerId="ADAL" clId="{1E3A7C41-47CF-4BFD-8C66-533AAAACACA8}" dt="2023-02-28T05:57:37.264" v="1368" actId="948"/>
            <ac:spMkLst>
              <pc:docMk/>
              <pc:sldMasterMk cId="408341288" sldId="2147483648"/>
              <pc:sldLayoutMk cId="1364635059" sldId="2147483682"/>
              <ac:spMk id="2" creationId="{A45B6DFC-9623-4183-8403-5AF3E92605AA}"/>
            </ac:spMkLst>
          </pc:spChg>
          <pc:spChg chg="del mod modVis">
            <ac:chgData name="Tobias Brammer" userId="80a1e1bd-3b82-47a5-b259-da62a397db92" providerId="ADAL" clId="{1E3A7C41-47CF-4BFD-8C66-533AAAACACA8}" dt="2023-02-28T05:57:37.711" v="1821" actId="478"/>
            <ac:spMkLst>
              <pc:docMk/>
              <pc:sldMasterMk cId="408341288" sldId="2147483648"/>
              <pc:sldLayoutMk cId="1364635059" sldId="2147483682"/>
              <ac:spMk id="3" creationId="{63019E8B-7838-845C-7A3A-35396FF89897}"/>
            </ac:spMkLst>
          </pc:spChg>
          <pc:spChg chg="mod">
            <ac:chgData name="Tobias Brammer" userId="80a1e1bd-3b82-47a5-b259-da62a397db92" providerId="ADAL" clId="{1E3A7C41-47CF-4BFD-8C66-533AAAACACA8}" dt="2023-02-28T05:57:36.426" v="667" actId="790"/>
            <ac:spMkLst>
              <pc:docMk/>
              <pc:sldMasterMk cId="408341288" sldId="2147483648"/>
              <pc:sldLayoutMk cId="1364635059" sldId="2147483682"/>
              <ac:spMk id="5" creationId="{7CD42358-BA8C-44F9-BECA-061E4ACFB127}"/>
            </ac:spMkLst>
          </pc:spChg>
          <pc:spChg chg="mod">
            <ac:chgData name="Tobias Brammer" userId="80a1e1bd-3b82-47a5-b259-da62a397db92" providerId="ADAL" clId="{1E3A7C41-47CF-4BFD-8C66-533AAAACACA8}" dt="2023-02-28T05:57:36.426" v="665" actId="790"/>
            <ac:spMkLst>
              <pc:docMk/>
              <pc:sldMasterMk cId="408341288" sldId="2147483648"/>
              <pc:sldLayoutMk cId="1364635059" sldId="2147483682"/>
              <ac:spMk id="10" creationId="{81207DA2-F524-4C10-BA40-392712CEED72}"/>
            </ac:spMkLst>
          </pc:spChg>
          <pc:spChg chg="mod">
            <ac:chgData name="Tobias Brammer" userId="80a1e1bd-3b82-47a5-b259-da62a397db92" providerId="ADAL" clId="{1E3A7C41-47CF-4BFD-8C66-533AAAACACA8}" dt="2023-02-28T05:57:36.426" v="668" actId="790"/>
            <ac:spMkLst>
              <pc:docMk/>
              <pc:sldMasterMk cId="408341288" sldId="2147483648"/>
              <pc:sldLayoutMk cId="1364635059" sldId="2147483682"/>
              <ac:spMk id="12" creationId="{83A427D2-4C08-45B8-A91B-3FE41F432C91}"/>
            </ac:spMkLst>
          </pc:spChg>
          <pc:spChg chg="mod">
            <ac:chgData name="Tobias Brammer" userId="80a1e1bd-3b82-47a5-b259-da62a397db92" providerId="ADAL" clId="{1E3A7C41-47CF-4BFD-8C66-533AAAACACA8}" dt="2023-02-28T05:57:36.426" v="670" actId="947"/>
            <ac:spMkLst>
              <pc:docMk/>
              <pc:sldMasterMk cId="408341288" sldId="2147483648"/>
              <pc:sldLayoutMk cId="1364635059" sldId="2147483682"/>
              <ac:spMk id="13" creationId="{18590422-9BE5-4289-94F5-8531586DFCD8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27" v="1829" actId="1076"/>
            <ac:graphicFrameMkLst>
              <pc:docMk/>
              <pc:sldMasterMk cId="408341288" sldId="2147483648"/>
              <pc:sldLayoutMk cId="1364635059" sldId="2147483682"/>
              <ac:graphicFrameMk id="4" creationId="{C012E119-F5DD-6106-9214-36AB682F7F06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80" v="1856" actId="1076"/>
          <pc:sldLayoutMkLst>
            <pc:docMk/>
            <pc:sldMasterMk cId="408341288" sldId="2147483648"/>
            <pc:sldLayoutMk cId="3912777144" sldId="2147483683"/>
          </pc:sldLayoutMkLst>
          <pc:spChg chg="del mod modVis">
            <ac:chgData name="Tobias Brammer" userId="80a1e1bd-3b82-47a5-b259-da62a397db92" providerId="ADAL" clId="{1E3A7C41-47CF-4BFD-8C66-533AAAACACA8}" dt="2023-02-28T05:57:37.764" v="1848" actId="478"/>
            <ac:spMkLst>
              <pc:docMk/>
              <pc:sldMasterMk cId="408341288" sldId="2147483648"/>
              <pc:sldLayoutMk cId="3912777144" sldId="2147483683"/>
              <ac:spMk id="2" creationId="{0F598405-7069-128A-8C54-ACA789BA2F54}"/>
            </ac:spMkLst>
          </pc:spChg>
          <pc:spChg chg="mod">
            <ac:chgData name="Tobias Brammer" userId="80a1e1bd-3b82-47a5-b259-da62a397db92" providerId="ADAL" clId="{1E3A7C41-47CF-4BFD-8C66-533AAAACACA8}" dt="2023-02-28T05:57:36.442" v="674" actId="790"/>
            <ac:spMkLst>
              <pc:docMk/>
              <pc:sldMasterMk cId="408341288" sldId="2147483648"/>
              <pc:sldLayoutMk cId="3912777144" sldId="2147483683"/>
              <ac:spMk id="6" creationId="{00000000-0000-0000-0000-000000000000}"/>
            </ac:spMkLst>
          </pc:spChg>
          <pc:spChg chg="mod">
            <ac:chgData name="Tobias Brammer" userId="80a1e1bd-3b82-47a5-b259-da62a397db92" providerId="ADAL" clId="{1E3A7C41-47CF-4BFD-8C66-533AAAACACA8}" dt="2023-02-28T05:57:36.426" v="671" actId="790"/>
            <ac:spMkLst>
              <pc:docMk/>
              <pc:sldMasterMk cId="408341288" sldId="2147483648"/>
              <pc:sldLayoutMk cId="3912777144" sldId="2147483683"/>
              <ac:spMk id="8" creationId="{6E664A79-AA13-4A0D-8520-A81F23F587CC}"/>
            </ac:spMkLst>
          </pc:spChg>
          <pc:spChg chg="mod">
            <ac:chgData name="Tobias Brammer" userId="80a1e1bd-3b82-47a5-b259-da62a397db92" providerId="ADAL" clId="{1E3A7C41-47CF-4BFD-8C66-533AAAACACA8}" dt="2023-02-28T05:57:36.448" v="675" actId="790"/>
            <ac:spMkLst>
              <pc:docMk/>
              <pc:sldMasterMk cId="408341288" sldId="2147483648"/>
              <pc:sldLayoutMk cId="3912777144" sldId="2147483683"/>
              <ac:spMk id="16" creationId="{C9E9BA6B-A909-4C0A-8466-CD595BEE7A3F}"/>
            </ac:spMkLst>
          </pc:spChg>
          <pc:spChg chg="mod">
            <ac:chgData name="Tobias Brammer" userId="80a1e1bd-3b82-47a5-b259-da62a397db92" providerId="ADAL" clId="{1E3A7C41-47CF-4BFD-8C66-533AAAACACA8}" dt="2023-02-28T05:57:37.327" v="1476" actId="948"/>
            <ac:spMkLst>
              <pc:docMk/>
              <pc:sldMasterMk cId="408341288" sldId="2147483648"/>
              <pc:sldLayoutMk cId="3912777144" sldId="2147483683"/>
              <ac:spMk id="18" creationId="{9BC18D5D-BEB9-4927-939D-CB0865E74EF0}"/>
            </ac:spMkLst>
          </pc:spChg>
          <pc:spChg chg="mod">
            <ac:chgData name="Tobias Brammer" userId="80a1e1bd-3b82-47a5-b259-da62a397db92" providerId="ADAL" clId="{1E3A7C41-47CF-4BFD-8C66-533AAAACACA8}" dt="2023-02-28T05:57:36.448" v="676" actId="790"/>
            <ac:spMkLst>
              <pc:docMk/>
              <pc:sldMasterMk cId="408341288" sldId="2147483648"/>
              <pc:sldLayoutMk cId="3912777144" sldId="2147483683"/>
              <ac:spMk id="19" creationId="{70CCB88D-D695-4EB7-926A-A112876360AD}"/>
            </ac:spMkLst>
          </pc:spChg>
          <pc:spChg chg="mod">
            <ac:chgData name="Tobias Brammer" userId="80a1e1bd-3b82-47a5-b259-da62a397db92" providerId="ADAL" clId="{1E3A7C41-47CF-4BFD-8C66-533AAAACACA8}" dt="2023-02-28T05:57:36.442" v="672" actId="790"/>
            <ac:spMkLst>
              <pc:docMk/>
              <pc:sldMasterMk cId="408341288" sldId="2147483648"/>
              <pc:sldLayoutMk cId="3912777144" sldId="2147483683"/>
              <ac:spMk id="32" creationId="{BA3D0DD0-91F8-4803-BD5E-DEFAF18680C3}"/>
            </ac:spMkLst>
          </pc:spChg>
          <pc:spChg chg="mod">
            <ac:chgData name="Tobias Brammer" userId="80a1e1bd-3b82-47a5-b259-da62a397db92" providerId="ADAL" clId="{1E3A7C41-47CF-4BFD-8C66-533AAAACACA8}" dt="2023-02-28T05:57:36.448" v="678" actId="947"/>
            <ac:spMkLst>
              <pc:docMk/>
              <pc:sldMasterMk cId="408341288" sldId="2147483648"/>
              <pc:sldLayoutMk cId="3912777144" sldId="2147483683"/>
              <ac:spMk id="33" creationId="{C96493EE-CEB4-4D66-95C2-0B294097E5C1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80" v="1856" actId="1076"/>
            <ac:graphicFrameMkLst>
              <pc:docMk/>
              <pc:sldMasterMk cId="408341288" sldId="2147483648"/>
              <pc:sldLayoutMk cId="3912777144" sldId="2147483683"/>
              <ac:graphicFrameMk id="3" creationId="{DB55FE80-6286-289B-DD1E-C57D0B5F519F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49" v="1838" actId="1076"/>
          <pc:sldLayoutMkLst>
            <pc:docMk/>
            <pc:sldMasterMk cId="408341288" sldId="2147483648"/>
            <pc:sldLayoutMk cId="3865668458" sldId="2147483684"/>
          </pc:sldLayoutMkLst>
          <pc:spChg chg="mod">
            <ac:chgData name="Tobias Brammer" userId="80a1e1bd-3b82-47a5-b259-da62a397db92" providerId="ADAL" clId="{1E3A7C41-47CF-4BFD-8C66-533AAAACACA8}" dt="2023-02-28T05:57:37.280" v="1404" actId="948"/>
            <ac:spMkLst>
              <pc:docMk/>
              <pc:sldMasterMk cId="408341288" sldId="2147483648"/>
              <pc:sldLayoutMk cId="3865668458" sldId="2147483684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727" v="1830" actId="478"/>
            <ac:spMkLst>
              <pc:docMk/>
              <pc:sldMasterMk cId="408341288" sldId="2147483648"/>
              <pc:sldLayoutMk cId="3865668458" sldId="2147483684"/>
              <ac:spMk id="3" creationId="{085BE295-83D4-FE7D-101D-DD25F4B78528}"/>
            </ac:spMkLst>
          </pc:spChg>
          <pc:spChg chg="mod">
            <ac:chgData name="Tobias Brammer" userId="80a1e1bd-3b82-47a5-b259-da62a397db92" providerId="ADAL" clId="{1E3A7C41-47CF-4BFD-8C66-533AAAACACA8}" dt="2023-02-28T05:57:36.448" v="680" actId="790"/>
            <ac:spMkLst>
              <pc:docMk/>
              <pc:sldMasterMk cId="408341288" sldId="2147483648"/>
              <pc:sldLayoutMk cId="3865668458" sldId="2147483684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48" v="681" actId="790"/>
            <ac:spMkLst>
              <pc:docMk/>
              <pc:sldMasterMk cId="408341288" sldId="2147483648"/>
              <pc:sldLayoutMk cId="3865668458" sldId="2147483684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63" v="682" actId="790"/>
            <ac:spMkLst>
              <pc:docMk/>
              <pc:sldMasterMk cId="408341288" sldId="2147483648"/>
              <pc:sldLayoutMk cId="3865668458" sldId="2147483684"/>
              <ac:spMk id="9" creationId="{2A765D59-1E8F-45BF-9694-4433FBE0A66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49" v="1838" actId="1076"/>
            <ac:graphicFrameMkLst>
              <pc:docMk/>
              <pc:sldMasterMk cId="408341288" sldId="2147483648"/>
              <pc:sldLayoutMk cId="3865668458" sldId="2147483684"/>
              <ac:graphicFrameMk id="4" creationId="{06E8AE74-7B17-EDE3-BB81-AD934018C725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764" v="1847" actId="1076"/>
          <pc:sldLayoutMkLst>
            <pc:docMk/>
            <pc:sldMasterMk cId="408341288" sldId="2147483648"/>
            <pc:sldLayoutMk cId="1230172900" sldId="2147483685"/>
          </pc:sldLayoutMkLst>
          <pc:spChg chg="mod">
            <ac:chgData name="Tobias Brammer" userId="80a1e1bd-3b82-47a5-b259-da62a397db92" providerId="ADAL" clId="{1E3A7C41-47CF-4BFD-8C66-533AAAACACA8}" dt="2023-02-28T05:57:37.311" v="1440" actId="948"/>
            <ac:spMkLst>
              <pc:docMk/>
              <pc:sldMasterMk cId="408341288" sldId="2147483648"/>
              <pc:sldLayoutMk cId="1230172900" sldId="2147483685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749" v="1839" actId="478"/>
            <ac:spMkLst>
              <pc:docMk/>
              <pc:sldMasterMk cId="408341288" sldId="2147483648"/>
              <pc:sldLayoutMk cId="1230172900" sldId="2147483685"/>
              <ac:spMk id="3" creationId="{490375B6-D132-CA2E-7ED6-996D0D91A7DD}"/>
            </ac:spMkLst>
          </pc:spChg>
          <pc:spChg chg="mod">
            <ac:chgData name="Tobias Brammer" userId="80a1e1bd-3b82-47a5-b259-da62a397db92" providerId="ADAL" clId="{1E3A7C41-47CF-4BFD-8C66-533AAAACACA8}" dt="2023-02-28T05:57:36.463" v="684" actId="790"/>
            <ac:spMkLst>
              <pc:docMk/>
              <pc:sldMasterMk cId="408341288" sldId="2147483648"/>
              <pc:sldLayoutMk cId="1230172900" sldId="2147483685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63" v="685" actId="790"/>
            <ac:spMkLst>
              <pc:docMk/>
              <pc:sldMasterMk cId="408341288" sldId="2147483648"/>
              <pc:sldLayoutMk cId="1230172900" sldId="2147483685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63" v="686" actId="790"/>
            <ac:spMkLst>
              <pc:docMk/>
              <pc:sldMasterMk cId="408341288" sldId="2147483648"/>
              <pc:sldLayoutMk cId="1230172900" sldId="2147483685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479" v="687" actId="790"/>
            <ac:spMkLst>
              <pc:docMk/>
              <pc:sldMasterMk cId="408341288" sldId="2147483648"/>
              <pc:sldLayoutMk cId="1230172900" sldId="2147483685"/>
              <ac:spMk id="9" creationId="{2A765D59-1E8F-45BF-9694-4433FBE0A66E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764" v="1847" actId="1076"/>
            <ac:graphicFrameMkLst>
              <pc:docMk/>
              <pc:sldMasterMk cId="408341288" sldId="2147483648"/>
              <pc:sldLayoutMk cId="1230172900" sldId="2147483685"/>
              <ac:graphicFrameMk id="4" creationId="{E87B03DB-BAEC-5561-E2F2-6CA14020B0FA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85" v="1751" actId="1076"/>
          <pc:sldLayoutMkLst>
            <pc:docMk/>
            <pc:sldMasterMk cId="408341288" sldId="2147483648"/>
            <pc:sldLayoutMk cId="1463015649" sldId="2147483686"/>
          </pc:sldLayoutMkLst>
          <pc:spChg chg="mod">
            <ac:chgData name="Tobias Brammer" userId="80a1e1bd-3b82-47a5-b259-da62a397db92" providerId="ADAL" clId="{1E3A7C41-47CF-4BFD-8C66-533AAAACACA8}" dt="2023-02-28T05:57:37.111" v="1152" actId="948"/>
            <ac:spMkLst>
              <pc:docMk/>
              <pc:sldMasterMk cId="408341288" sldId="2147483648"/>
              <pc:sldLayoutMk cId="1463015649" sldId="2147483686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569" v="1743" actId="478"/>
            <ac:spMkLst>
              <pc:docMk/>
              <pc:sldMasterMk cId="408341288" sldId="2147483648"/>
              <pc:sldLayoutMk cId="1463015649" sldId="2147483686"/>
              <ac:spMk id="3" creationId="{B42C3518-54C6-00D9-EDFD-62B63C16BB75}"/>
            </ac:spMkLst>
          </pc:spChg>
          <pc:spChg chg="mod">
            <ac:chgData name="Tobias Brammer" userId="80a1e1bd-3b82-47a5-b259-da62a397db92" providerId="ADAL" clId="{1E3A7C41-47CF-4BFD-8C66-533AAAACACA8}" dt="2023-02-28T05:57:36.479" v="689" actId="790"/>
            <ac:spMkLst>
              <pc:docMk/>
              <pc:sldMasterMk cId="408341288" sldId="2147483648"/>
              <pc:sldLayoutMk cId="1463015649" sldId="2147483686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479" v="690" actId="790"/>
            <ac:spMkLst>
              <pc:docMk/>
              <pc:sldMasterMk cId="408341288" sldId="2147483648"/>
              <pc:sldLayoutMk cId="1463015649" sldId="2147483686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479" v="691" actId="790"/>
            <ac:spMkLst>
              <pc:docMk/>
              <pc:sldMasterMk cId="408341288" sldId="2147483648"/>
              <pc:sldLayoutMk cId="1463015649" sldId="2147483686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479" v="692" actId="790"/>
            <ac:spMkLst>
              <pc:docMk/>
              <pc:sldMasterMk cId="408341288" sldId="2147483648"/>
              <pc:sldLayoutMk cId="1463015649" sldId="2147483686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495" v="693" actId="790"/>
            <ac:spMkLst>
              <pc:docMk/>
              <pc:sldMasterMk cId="408341288" sldId="2147483648"/>
              <pc:sldLayoutMk cId="1463015649" sldId="2147483686"/>
              <ac:spMk id="10" creationId="{6A45B6CB-352F-4E32-AF69-C299C10A51C2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85" v="1751" actId="1076"/>
            <ac:graphicFrameMkLst>
              <pc:docMk/>
              <pc:sldMasterMk cId="408341288" sldId="2147483648"/>
              <pc:sldLayoutMk cId="1463015649" sldId="2147483686"/>
              <ac:graphicFrameMk id="4" creationId="{A407E8C6-0376-2DE4-3C8E-914D1A021849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16" v="1769" actId="1076"/>
          <pc:sldLayoutMkLst>
            <pc:docMk/>
            <pc:sldMasterMk cId="408341288" sldId="2147483648"/>
            <pc:sldLayoutMk cId="3511884162" sldId="2147483687"/>
          </pc:sldLayoutMkLst>
          <pc:spChg chg="mod">
            <ac:chgData name="Tobias Brammer" userId="80a1e1bd-3b82-47a5-b259-da62a397db92" providerId="ADAL" clId="{1E3A7C41-47CF-4BFD-8C66-533AAAACACA8}" dt="2023-02-28T05:57:37.164" v="1224" actId="948"/>
            <ac:spMkLst>
              <pc:docMk/>
              <pc:sldMasterMk cId="408341288" sldId="2147483648"/>
              <pc:sldLayoutMk cId="3511884162" sldId="2147483687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600" v="1761" actId="478"/>
            <ac:spMkLst>
              <pc:docMk/>
              <pc:sldMasterMk cId="408341288" sldId="2147483648"/>
              <pc:sldLayoutMk cId="3511884162" sldId="2147483687"/>
              <ac:spMk id="3" creationId="{BB9B6ED2-FCA7-69C4-A50D-ED430D15C218}"/>
            </ac:spMkLst>
          </pc:spChg>
          <pc:spChg chg="mod">
            <ac:chgData name="Tobias Brammer" userId="80a1e1bd-3b82-47a5-b259-da62a397db92" providerId="ADAL" clId="{1E3A7C41-47CF-4BFD-8C66-533AAAACACA8}" dt="2023-02-28T05:57:36.510" v="701" actId="790"/>
            <ac:spMkLst>
              <pc:docMk/>
              <pc:sldMasterMk cId="408341288" sldId="2147483648"/>
              <pc:sldLayoutMk cId="3511884162" sldId="2147483687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510" v="702" actId="790"/>
            <ac:spMkLst>
              <pc:docMk/>
              <pc:sldMasterMk cId="408341288" sldId="2147483648"/>
              <pc:sldLayoutMk cId="3511884162" sldId="2147483687"/>
              <ac:spMk id="7" creationId="{83B5719C-085D-4DC6-9B95-DE377476E7DC}"/>
            </ac:spMkLst>
          </pc:spChg>
          <pc:spChg chg="mod">
            <ac:chgData name="Tobias Brammer" userId="80a1e1bd-3b82-47a5-b259-da62a397db92" providerId="ADAL" clId="{1E3A7C41-47CF-4BFD-8C66-533AAAACACA8}" dt="2023-02-28T05:57:36.510" v="703" actId="790"/>
            <ac:spMkLst>
              <pc:docMk/>
              <pc:sldMasterMk cId="408341288" sldId="2147483648"/>
              <pc:sldLayoutMk cId="3511884162" sldId="2147483687"/>
              <ac:spMk id="8" creationId="{95AC08FD-77C5-4D0A-B0AC-0870AB4D33C3}"/>
            </ac:spMkLst>
          </pc:spChg>
          <pc:spChg chg="mod">
            <ac:chgData name="Tobias Brammer" userId="80a1e1bd-3b82-47a5-b259-da62a397db92" providerId="ADAL" clId="{1E3A7C41-47CF-4BFD-8C66-533AAAACACA8}" dt="2023-02-28T05:57:36.510" v="704" actId="790"/>
            <ac:spMkLst>
              <pc:docMk/>
              <pc:sldMasterMk cId="408341288" sldId="2147483648"/>
              <pc:sldLayoutMk cId="3511884162" sldId="2147483687"/>
              <ac:spMk id="9" creationId="{2A765D59-1E8F-45BF-9694-4433FBE0A66E}"/>
            </ac:spMkLst>
          </pc:spChg>
          <pc:spChg chg="mod">
            <ac:chgData name="Tobias Brammer" userId="80a1e1bd-3b82-47a5-b259-da62a397db92" providerId="ADAL" clId="{1E3A7C41-47CF-4BFD-8C66-533AAAACACA8}" dt="2023-02-28T05:57:36.527" v="705" actId="790"/>
            <ac:spMkLst>
              <pc:docMk/>
              <pc:sldMasterMk cId="408341288" sldId="2147483648"/>
              <pc:sldLayoutMk cId="3511884162" sldId="2147483687"/>
              <ac:spMk id="10" creationId="{52179531-8123-4684-8DC8-C0C8F5375C25}"/>
            </ac:spMkLst>
          </pc:spChg>
          <pc:spChg chg="mod">
            <ac:chgData name="Tobias Brammer" userId="80a1e1bd-3b82-47a5-b259-da62a397db92" providerId="ADAL" clId="{1E3A7C41-47CF-4BFD-8C66-533AAAACACA8}" dt="2023-02-28T05:57:36.528" v="706" actId="790"/>
            <ac:spMkLst>
              <pc:docMk/>
              <pc:sldMasterMk cId="408341288" sldId="2147483648"/>
              <pc:sldLayoutMk cId="3511884162" sldId="2147483687"/>
              <ac:spMk id="13" creationId="{86BB78F2-84F0-4A0A-9793-68171CF5E7E1}"/>
            </ac:spMkLst>
          </pc:spChg>
          <pc:spChg chg="mod">
            <ac:chgData name="Tobias Brammer" userId="80a1e1bd-3b82-47a5-b259-da62a397db92" providerId="ADAL" clId="{1E3A7C41-47CF-4BFD-8C66-533AAAACACA8}" dt="2023-02-28T05:57:36.528" v="707" actId="790"/>
            <ac:spMkLst>
              <pc:docMk/>
              <pc:sldMasterMk cId="408341288" sldId="2147483648"/>
              <pc:sldLayoutMk cId="3511884162" sldId="2147483687"/>
              <ac:spMk id="14" creationId="{4377A560-23C0-491F-BDB7-C58123E772DF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16" v="1769" actId="1076"/>
            <ac:graphicFrameMkLst>
              <pc:docMk/>
              <pc:sldMasterMk cId="408341288" sldId="2147483648"/>
              <pc:sldLayoutMk cId="3511884162" sldId="2147483687"/>
              <ac:graphicFrameMk id="4" creationId="{894B3E18-6AF9-96A9-7EF6-3F8F268D7B69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649" v="1786" actId="1076"/>
          <pc:sldLayoutMkLst>
            <pc:docMk/>
            <pc:sldMasterMk cId="408341288" sldId="2147483648"/>
            <pc:sldLayoutMk cId="1427491588" sldId="2147483688"/>
          </pc:sldLayoutMkLst>
          <pc:spChg chg="mod">
            <ac:chgData name="Tobias Brammer" userId="80a1e1bd-3b82-47a5-b259-da62a397db92" providerId="ADAL" clId="{1E3A7C41-47CF-4BFD-8C66-533AAAACACA8}" dt="2023-02-28T05:57:37.180" v="1260" actId="948"/>
            <ac:spMkLst>
              <pc:docMk/>
              <pc:sldMasterMk cId="408341288" sldId="2147483648"/>
              <pc:sldLayoutMk cId="1427491588" sldId="2147483688"/>
              <ac:spMk id="2" creationId="{41406E95-0077-466F-B205-C9B6361A1F13}"/>
            </ac:spMkLst>
          </pc:spChg>
          <pc:spChg chg="del mod modVis">
            <ac:chgData name="Tobias Brammer" userId="80a1e1bd-3b82-47a5-b259-da62a397db92" providerId="ADAL" clId="{1E3A7C41-47CF-4BFD-8C66-533AAAACACA8}" dt="2023-02-28T05:57:37.631" v="1778" actId="478"/>
            <ac:spMkLst>
              <pc:docMk/>
              <pc:sldMasterMk cId="408341288" sldId="2147483648"/>
              <pc:sldLayoutMk cId="1427491588" sldId="2147483688"/>
              <ac:spMk id="3" creationId="{143EBB72-D2A2-6519-2E58-2BC8DFCE10BB}"/>
            </ac:spMkLst>
          </pc:spChg>
          <pc:spChg chg="mod">
            <ac:chgData name="Tobias Brammer" userId="80a1e1bd-3b82-47a5-b259-da62a397db92" providerId="ADAL" clId="{1E3A7C41-47CF-4BFD-8C66-533AAAACACA8}" dt="2023-02-28T05:57:36.528" v="709" actId="790"/>
            <ac:spMkLst>
              <pc:docMk/>
              <pc:sldMasterMk cId="408341288" sldId="2147483648"/>
              <pc:sldLayoutMk cId="1427491588" sldId="2147483688"/>
              <ac:spMk id="5" creationId="{114F2ABF-793E-4952-8D26-BC977EB7CC3A}"/>
            </ac:spMkLst>
          </pc:spChg>
          <pc:spChg chg="mod">
            <ac:chgData name="Tobias Brammer" userId="80a1e1bd-3b82-47a5-b259-da62a397db92" providerId="ADAL" clId="{1E3A7C41-47CF-4BFD-8C66-533AAAACACA8}" dt="2023-02-28T05:57:36.528" v="710" actId="790"/>
            <ac:spMkLst>
              <pc:docMk/>
              <pc:sldMasterMk cId="408341288" sldId="2147483648"/>
              <pc:sldLayoutMk cId="1427491588" sldId="2147483688"/>
              <ac:spMk id="11" creationId="{F7E1B724-1863-4934-82EC-6D065E0A0F15}"/>
            </ac:spMkLst>
          </pc:spChg>
          <pc:spChg chg="mod">
            <ac:chgData name="Tobias Brammer" userId="80a1e1bd-3b82-47a5-b259-da62a397db92" providerId="ADAL" clId="{1E3A7C41-47CF-4BFD-8C66-533AAAACACA8}" dt="2023-02-28T05:57:36.528" v="711" actId="790"/>
            <ac:spMkLst>
              <pc:docMk/>
              <pc:sldMasterMk cId="408341288" sldId="2147483648"/>
              <pc:sldLayoutMk cId="1427491588" sldId="2147483688"/>
              <ac:spMk id="12" creationId="{41975656-DFB7-4063-B691-5AD6F9E0901C}"/>
            </ac:spMkLst>
          </pc:spChg>
          <pc:spChg chg="mod">
            <ac:chgData name="Tobias Brammer" userId="80a1e1bd-3b82-47a5-b259-da62a397db92" providerId="ADAL" clId="{1E3A7C41-47CF-4BFD-8C66-533AAAACACA8}" dt="2023-02-28T05:57:36.544" v="712" actId="790"/>
            <ac:spMkLst>
              <pc:docMk/>
              <pc:sldMasterMk cId="408341288" sldId="2147483648"/>
              <pc:sldLayoutMk cId="1427491588" sldId="2147483688"/>
              <ac:spMk id="13" creationId="{22C5418F-AF34-42EC-8A58-7BF2F892BD62}"/>
            </ac:spMkLst>
          </pc:spChg>
          <pc:spChg chg="mod">
            <ac:chgData name="Tobias Brammer" userId="80a1e1bd-3b82-47a5-b259-da62a397db92" providerId="ADAL" clId="{1E3A7C41-47CF-4BFD-8C66-533AAAACACA8}" dt="2023-02-28T05:57:36.544" v="713" actId="790"/>
            <ac:spMkLst>
              <pc:docMk/>
              <pc:sldMasterMk cId="408341288" sldId="2147483648"/>
              <pc:sldLayoutMk cId="1427491588" sldId="2147483688"/>
              <ac:spMk id="14" creationId="{AA708B7D-C86C-42CC-B31B-727B57E41D73}"/>
            </ac:spMkLst>
          </pc:spChg>
          <pc:spChg chg="mod">
            <ac:chgData name="Tobias Brammer" userId="80a1e1bd-3b82-47a5-b259-da62a397db92" providerId="ADAL" clId="{1E3A7C41-47CF-4BFD-8C66-533AAAACACA8}" dt="2023-02-28T05:57:36.548" v="714" actId="790"/>
            <ac:spMkLst>
              <pc:docMk/>
              <pc:sldMasterMk cId="408341288" sldId="2147483648"/>
              <pc:sldLayoutMk cId="1427491588" sldId="2147483688"/>
              <ac:spMk id="15" creationId="{C2B809B3-8F1B-4F1D-9FFA-7FBAD2E26A4B}"/>
            </ac:spMkLst>
          </pc:spChg>
          <pc:spChg chg="mod">
            <ac:chgData name="Tobias Brammer" userId="80a1e1bd-3b82-47a5-b259-da62a397db92" providerId="ADAL" clId="{1E3A7C41-47CF-4BFD-8C66-533AAAACACA8}" dt="2023-02-28T05:57:36.548" v="715" actId="790"/>
            <ac:spMkLst>
              <pc:docMk/>
              <pc:sldMasterMk cId="408341288" sldId="2147483648"/>
              <pc:sldLayoutMk cId="1427491588" sldId="2147483688"/>
              <ac:spMk id="16" creationId="{2E6382C7-BB6A-4A21-8265-F37ECCC6FF11}"/>
            </ac:spMkLst>
          </pc:spChg>
          <pc:spChg chg="mod">
            <ac:chgData name="Tobias Brammer" userId="80a1e1bd-3b82-47a5-b259-da62a397db92" providerId="ADAL" clId="{1E3A7C41-47CF-4BFD-8C66-533AAAACACA8}" dt="2023-02-28T05:57:36.548" v="716" actId="790"/>
            <ac:spMkLst>
              <pc:docMk/>
              <pc:sldMasterMk cId="408341288" sldId="2147483648"/>
              <pc:sldLayoutMk cId="1427491588" sldId="2147483688"/>
              <ac:spMk id="17" creationId="{826194ED-C5B4-4BF4-88B1-17C18E2D722C}"/>
            </ac:spMkLst>
          </pc:spChg>
          <pc:spChg chg="mod">
            <ac:chgData name="Tobias Brammer" userId="80a1e1bd-3b82-47a5-b259-da62a397db92" providerId="ADAL" clId="{1E3A7C41-47CF-4BFD-8C66-533AAAACACA8}" dt="2023-02-28T05:57:36.548" v="717" actId="790"/>
            <ac:spMkLst>
              <pc:docMk/>
              <pc:sldMasterMk cId="408341288" sldId="2147483648"/>
              <pc:sldLayoutMk cId="1427491588" sldId="2147483688"/>
              <ac:spMk id="18" creationId="{1807E5E9-1B45-4641-B765-AAEC167C62E6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649" v="1786" actId="1076"/>
            <ac:graphicFrameMkLst>
              <pc:docMk/>
              <pc:sldMasterMk cId="408341288" sldId="2147483648"/>
              <pc:sldLayoutMk cId="1427491588" sldId="2147483688"/>
              <ac:graphicFrameMk id="4" creationId="{DF67402E-0A98-654F-37FA-246E12DB1E2B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549" v="1733" actId="1076"/>
          <pc:sldLayoutMkLst>
            <pc:docMk/>
            <pc:sldMasterMk cId="408341288" sldId="2147483648"/>
            <pc:sldLayoutMk cId="1501344722" sldId="2147483691"/>
          </pc:sldLayoutMkLst>
          <pc:spChg chg="mod">
            <ac:chgData name="Tobias Brammer" userId="80a1e1bd-3b82-47a5-b259-da62a397db92" providerId="ADAL" clId="{1E3A7C41-47CF-4BFD-8C66-533AAAACACA8}" dt="2023-02-28T05:57:37.064" v="1080" actId="948"/>
            <ac:spMkLst>
              <pc:docMk/>
              <pc:sldMasterMk cId="408341288" sldId="2147483648"/>
              <pc:sldLayoutMk cId="1501344722" sldId="2147483691"/>
              <ac:spMk id="2" creationId="{92C1918C-9363-4876-BE81-A1CD339A2D47}"/>
            </ac:spMkLst>
          </pc:spChg>
          <pc:spChg chg="del mod modVis">
            <ac:chgData name="Tobias Brammer" userId="80a1e1bd-3b82-47a5-b259-da62a397db92" providerId="ADAL" clId="{1E3A7C41-47CF-4BFD-8C66-533AAAACACA8}" dt="2023-02-28T05:57:37.534" v="1725" actId="478"/>
            <ac:spMkLst>
              <pc:docMk/>
              <pc:sldMasterMk cId="408341288" sldId="2147483648"/>
              <pc:sldLayoutMk cId="1501344722" sldId="2147483691"/>
              <ac:spMk id="3" creationId="{5187D2E6-041B-B001-4EE0-84267CBEC752}"/>
            </ac:spMkLst>
          </pc:spChg>
          <pc:spChg chg="mod">
            <ac:chgData name="Tobias Brammer" userId="80a1e1bd-3b82-47a5-b259-da62a397db92" providerId="ADAL" clId="{1E3A7C41-47CF-4BFD-8C66-533AAAACACA8}" dt="2023-02-28T05:57:36.364" v="640" actId="790"/>
            <ac:spMkLst>
              <pc:docMk/>
              <pc:sldMasterMk cId="408341288" sldId="2147483648"/>
              <pc:sldLayoutMk cId="1501344722" sldId="2147483691"/>
              <ac:spMk id="5" creationId="{51F8DDE5-E09E-4851-80C7-9117A55BBA61}"/>
            </ac:spMkLst>
          </pc:spChg>
          <pc:spChg chg="mod">
            <ac:chgData name="Tobias Brammer" userId="80a1e1bd-3b82-47a5-b259-da62a397db92" providerId="ADAL" clId="{1E3A7C41-47CF-4BFD-8C66-533AAAACACA8}" dt="2023-02-28T05:57:36.379" v="641" actId="790"/>
            <ac:spMkLst>
              <pc:docMk/>
              <pc:sldMasterMk cId="408341288" sldId="2147483648"/>
              <pc:sldLayoutMk cId="1501344722" sldId="2147483691"/>
              <ac:spMk id="12" creationId="{529B0911-F7F1-4774-A696-6B9D2735D4E2}"/>
            </ac:spMkLst>
          </pc:spChg>
          <pc:spChg chg="mod">
            <ac:chgData name="Tobias Brammer" userId="80a1e1bd-3b82-47a5-b259-da62a397db92" providerId="ADAL" clId="{1E3A7C41-47CF-4BFD-8C66-533AAAACACA8}" dt="2023-02-28T05:57:36.379" v="642" actId="790"/>
            <ac:spMkLst>
              <pc:docMk/>
              <pc:sldMasterMk cId="408341288" sldId="2147483648"/>
              <pc:sldLayoutMk cId="1501344722" sldId="2147483691"/>
              <ac:spMk id="16" creationId="{EAB1C4A3-F47C-4231-AAC2-76E60133E4E9}"/>
            </ac:spMkLst>
          </pc:spChg>
          <pc:spChg chg="mod">
            <ac:chgData name="Tobias Brammer" userId="80a1e1bd-3b82-47a5-b259-da62a397db92" providerId="ADAL" clId="{1E3A7C41-47CF-4BFD-8C66-533AAAACACA8}" dt="2023-02-28T05:57:36.379" v="643" actId="790"/>
            <ac:spMkLst>
              <pc:docMk/>
              <pc:sldMasterMk cId="408341288" sldId="2147483648"/>
              <pc:sldLayoutMk cId="1501344722" sldId="2147483691"/>
              <ac:spMk id="19" creationId="{93B756E9-F541-497F-92B6-1332822426C2}"/>
            </ac:spMkLst>
          </pc:spChg>
          <pc:spChg chg="mod">
            <ac:chgData name="Tobias Brammer" userId="80a1e1bd-3b82-47a5-b259-da62a397db92" providerId="ADAL" clId="{1E3A7C41-47CF-4BFD-8C66-533AAAACACA8}" dt="2023-02-28T05:57:36.379" v="644" actId="790"/>
            <ac:spMkLst>
              <pc:docMk/>
              <pc:sldMasterMk cId="408341288" sldId="2147483648"/>
              <pc:sldLayoutMk cId="1501344722" sldId="2147483691"/>
              <ac:spMk id="20" creationId="{526EFD36-E395-47FA-A4C9-907A4C94848A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549" v="1733" actId="1076"/>
            <ac:graphicFrameMkLst>
              <pc:docMk/>
              <pc:sldMasterMk cId="408341288" sldId="2147483648"/>
              <pc:sldLayoutMk cId="1501344722" sldId="2147483691"/>
              <ac:graphicFrameMk id="4" creationId="{639A8324-4EAB-D001-BF91-8F238CF8521C}"/>
            </ac:graphicFrameMkLst>
          </pc:graphicFrameChg>
        </pc:sldLayoutChg>
        <pc:sldLayoutChg chg="delSp modSp mod">
          <pc:chgData name="Tobias Brammer" userId="80a1e1bd-3b82-47a5-b259-da62a397db92" providerId="ADAL" clId="{1E3A7C41-47CF-4BFD-8C66-533AAAACACA8}" dt="2023-02-28T05:57:37.471" v="1677" actId="1076"/>
          <pc:sldLayoutMkLst>
            <pc:docMk/>
            <pc:sldMasterMk cId="408341288" sldId="2147483648"/>
            <pc:sldLayoutMk cId="2650753366" sldId="2147483692"/>
          </pc:sldLayoutMkLst>
          <pc:spChg chg="mod">
            <ac:chgData name="Tobias Brammer" userId="80a1e1bd-3b82-47a5-b259-da62a397db92" providerId="ADAL" clId="{1E3A7C41-47CF-4BFD-8C66-533AAAACACA8}" dt="2023-02-28T05:57:36.895" v="828" actId="948"/>
            <ac:spMkLst>
              <pc:docMk/>
              <pc:sldMasterMk cId="408341288" sldId="2147483648"/>
              <pc:sldLayoutMk cId="2650753366" sldId="2147483692"/>
              <ac:spMk id="2" creationId="{EDABB80B-B68E-403D-8533-538037F78BC9}"/>
            </ac:spMkLst>
          </pc:spChg>
          <pc:spChg chg="del mod modVis">
            <ac:chgData name="Tobias Brammer" userId="80a1e1bd-3b82-47a5-b259-da62a397db92" providerId="ADAL" clId="{1E3A7C41-47CF-4BFD-8C66-533AAAACACA8}" dt="2023-02-28T05:57:37.455" v="1669" actId="478"/>
            <ac:spMkLst>
              <pc:docMk/>
              <pc:sldMasterMk cId="408341288" sldId="2147483648"/>
              <pc:sldLayoutMk cId="2650753366" sldId="2147483692"/>
              <ac:spMk id="3" creationId="{9E2BBBE8-6E65-E302-4EF1-2022711637C1}"/>
            </ac:spMkLst>
          </pc:spChg>
          <pc:spChg chg="mod">
            <ac:chgData name="Tobias Brammer" userId="80a1e1bd-3b82-47a5-b259-da62a397db92" providerId="ADAL" clId="{1E3A7C41-47CF-4BFD-8C66-533AAAACACA8}" dt="2023-02-28T05:57:36.411" v="657" actId="790"/>
            <ac:spMkLst>
              <pc:docMk/>
              <pc:sldMasterMk cId="408341288" sldId="2147483648"/>
              <pc:sldLayoutMk cId="2650753366" sldId="2147483692"/>
              <ac:spMk id="5" creationId="{579AA1BE-5B22-4EEB-81F8-ABE92B61A72F}"/>
            </ac:spMkLst>
          </pc:spChg>
          <pc:spChg chg="mod">
            <ac:chgData name="Tobias Brammer" userId="80a1e1bd-3b82-47a5-b259-da62a397db92" providerId="ADAL" clId="{1E3A7C41-47CF-4BFD-8C66-533AAAACACA8}" dt="2023-02-28T05:57:36.411" v="658" actId="790"/>
            <ac:spMkLst>
              <pc:docMk/>
              <pc:sldMasterMk cId="408341288" sldId="2147483648"/>
              <pc:sldLayoutMk cId="2650753366" sldId="2147483692"/>
              <ac:spMk id="9" creationId="{AE3E6A7E-4961-403F-A8EA-EB08707ECA2C}"/>
            </ac:spMkLst>
          </pc:spChg>
          <pc:graphicFrameChg chg="mod ord modVis replST">
            <ac:chgData name="Tobias Brammer" userId="80a1e1bd-3b82-47a5-b259-da62a397db92" providerId="ADAL" clId="{1E3A7C41-47CF-4BFD-8C66-533AAAACACA8}" dt="2023-02-28T05:57:37.471" v="1677" actId="1076"/>
            <ac:graphicFrameMkLst>
              <pc:docMk/>
              <pc:sldMasterMk cId="408341288" sldId="2147483648"/>
              <pc:sldLayoutMk cId="2650753366" sldId="2147483692"/>
              <ac:graphicFrameMk id="4" creationId="{C44E94A3-94F7-4876-BD09-C61C8FBD6718}"/>
            </ac:graphicFrameMkLst>
          </pc:graphicFrame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73869" y="179999"/>
            <a:ext cx="2833200" cy="200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>
              <a:defRPr sz="1300"/>
            </a:lvl1pPr>
          </a:lstStyle>
          <a:p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580608" y="179999"/>
            <a:ext cx="2833688" cy="200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r">
              <a:defRPr sz="1300"/>
            </a:lvl1pPr>
          </a:lstStyle>
          <a:p>
            <a:fld id="{03516883-48DD-4C9C-AED9-ACC4B9675FF5}" type="datetimeFigureOut">
              <a:rPr lang="da-DK" sz="800" smtClean="0">
                <a:solidFill>
                  <a:schemeClr val="accent1"/>
                </a:solidFill>
              </a:rPr>
              <a:t>02-03-2023</a:t>
            </a:fld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73868" y="9630218"/>
            <a:ext cx="2833199" cy="20005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300"/>
            </a:lvl1pPr>
          </a:lstStyle>
          <a:p>
            <a:endParaRPr lang="da-DK" sz="800" dirty="0">
              <a:solidFill>
                <a:schemeClr val="accent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581096" y="9630218"/>
            <a:ext cx="2833200" cy="20005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300"/>
            </a:lvl1pPr>
          </a:lstStyle>
          <a:p>
            <a:fld id="{52A91FE0-BF21-4C80-A3FB-773B8C54F958}" type="slidenum">
              <a:rPr lang="da-DK" sz="1200" smtClean="0">
                <a:solidFill>
                  <a:schemeClr val="accent1"/>
                </a:solidFill>
              </a:rPr>
              <a:t>‹nr.›</a:t>
            </a:fld>
            <a:endParaRPr lang="da-DK" sz="12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3920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39738" y="164122"/>
            <a:ext cx="2833200" cy="200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615225" y="164122"/>
            <a:ext cx="2833200" cy="200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algn="r" rtl="0">
              <a:defRPr sz="800">
                <a:solidFill>
                  <a:schemeClr val="accent1"/>
                </a:solidFill>
              </a:defRPr>
            </a:lvl1pPr>
          </a:lstStyle>
          <a:p>
            <a:fld id="{E0DF3390-761A-4FDC-BA3A-9CF676B82A14}" type="datetimeFigureOut">
              <a:rPr lang="en-US" smtClean="0"/>
              <a:pPr/>
              <a:t>3/2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16" tIns="48308" rIns="96616" bIns="48308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39738" y="4822269"/>
            <a:ext cx="6008687" cy="394549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39738" y="9640246"/>
            <a:ext cx="2833200" cy="20005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rtl="0">
              <a:defRPr sz="8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615225" y="9640246"/>
            <a:ext cx="2833200" cy="20005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 rtl="0">
              <a:defRPr sz="1200">
                <a:solidFill>
                  <a:schemeClr val="accent1"/>
                </a:solidFill>
              </a:defRPr>
            </a:lvl1pPr>
          </a:lstStyle>
          <a:p>
            <a:fld id="{CA4D1251-08EB-4C47-AB06-FBA54C2E1AE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898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90487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975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66700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57187" indent="0" algn="l" defTabSz="914400" rtl="0" eaLnBrk="1" latinLnBrk="0" hangingPunct="1">
      <a:lnSpc>
        <a:spcPct val="90000"/>
      </a:lnSpc>
      <a:spcBef>
        <a:spcPts val="6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3698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0873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2267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3125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37709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1638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14052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D1251-08EB-4C47-AB06-FBA54C2E1AE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34432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halv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C8B7415-416B-7FE1-937C-81DC5F7AF7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9410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C8B7415-416B-7FE1-937C-81DC5F7AF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id="{939632FF-44ED-498C-B1FE-ACE44FE1E8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25592" y="0"/>
            <a:ext cx="7066408" cy="6858000"/>
          </a:xfrm>
          <a:custGeom>
            <a:avLst/>
            <a:gdLst>
              <a:gd name="connsiteX0" fmla="*/ 1965503 w 7066408"/>
              <a:gd name="connsiteY0" fmla="*/ 0 h 6858000"/>
              <a:gd name="connsiteX1" fmla="*/ 7066408 w 7066408"/>
              <a:gd name="connsiteY1" fmla="*/ 0 h 6858000"/>
              <a:gd name="connsiteX2" fmla="*/ 7066408 w 7066408"/>
              <a:gd name="connsiteY2" fmla="*/ 6858000 h 6858000"/>
              <a:gd name="connsiteX3" fmla="*/ 0 w 706640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66408" h="6858000">
                <a:moveTo>
                  <a:pt x="1965503" y="0"/>
                </a:moveTo>
                <a:lnTo>
                  <a:pt x="7066408" y="0"/>
                </a:lnTo>
                <a:lnTo>
                  <a:pt x="706640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4701857" cy="1661993"/>
          </a:xfrm>
        </p:spPr>
        <p:txBody>
          <a:bodyPr vert="horz">
            <a:noAutofit/>
          </a:bodyPr>
          <a:lstStyle>
            <a:lvl1pPr algn="l" rtl="0">
              <a:defRPr sz="6000"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4142929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8" name="TextBox 8">
            <a:extLst>
              <a:ext uri="{FF2B5EF4-FFF2-40B4-BE49-F238E27FC236}">
                <a16:creationId xmlns:a16="http://schemas.microsoft.com/office/drawing/2014/main" id="{297EFA8A-BAF3-4E00-ABAE-12A3938FAD52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3996F55-9A5F-4DA1-AD19-CFBFFDAF51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5080" y="5600283"/>
            <a:ext cx="3954771" cy="632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0279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EE7813-74C2-F8E1-D412-BE30BC2B5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712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EE7813-74C2-F8E1-D412-BE30BC2B5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81207DA2-F524-4C10-BA40-392712CEED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1784" y="0"/>
            <a:ext cx="4030217" cy="6858000"/>
          </a:xfrm>
          <a:custGeom>
            <a:avLst/>
            <a:gdLst>
              <a:gd name="connsiteX0" fmla="*/ 1965503 w 4030217"/>
              <a:gd name="connsiteY0" fmla="*/ 0 h 6858000"/>
              <a:gd name="connsiteX1" fmla="*/ 4030217 w 4030217"/>
              <a:gd name="connsiteY1" fmla="*/ 0 h 6858000"/>
              <a:gd name="connsiteX2" fmla="*/ 4030217 w 4030217"/>
              <a:gd name="connsiteY2" fmla="*/ 6858000 h 6858000"/>
              <a:gd name="connsiteX3" fmla="*/ 0 w 40302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0217" h="6858000">
                <a:moveTo>
                  <a:pt x="1965503" y="0"/>
                </a:moveTo>
                <a:lnTo>
                  <a:pt x="4030217" y="0"/>
                </a:lnTo>
                <a:lnTo>
                  <a:pt x="4030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5B6DFC-9623-4183-8403-5AF3E926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D42358-BA8C-44F9-BECA-061E4ACFB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83A427D2-4C08-45B8-A91B-3FE41F432C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1808163"/>
            <a:ext cx="7178675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C967A86E-1E38-460F-9723-9D24C8DEEF8B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2894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billede + farvet baggr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012E119-F5DD-6106-9214-36AB682F7F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6631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012E119-F5DD-6106-9214-36AB682F7F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id="{81207DA2-F524-4C10-BA40-392712CEED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61784" y="0"/>
            <a:ext cx="4030217" cy="6858000"/>
          </a:xfrm>
          <a:custGeom>
            <a:avLst/>
            <a:gdLst>
              <a:gd name="connsiteX0" fmla="*/ 1965503 w 4030217"/>
              <a:gd name="connsiteY0" fmla="*/ 0 h 6858000"/>
              <a:gd name="connsiteX1" fmla="*/ 4030217 w 4030217"/>
              <a:gd name="connsiteY1" fmla="*/ 0 h 6858000"/>
              <a:gd name="connsiteX2" fmla="*/ 4030217 w 4030217"/>
              <a:gd name="connsiteY2" fmla="*/ 6858000 h 6858000"/>
              <a:gd name="connsiteX3" fmla="*/ 0 w 40302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0217" h="6858000">
                <a:moveTo>
                  <a:pt x="1965503" y="0"/>
                </a:moveTo>
                <a:lnTo>
                  <a:pt x="4030217" y="0"/>
                </a:lnTo>
                <a:lnTo>
                  <a:pt x="4030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5B6DFC-9623-4183-8403-5AF3E9260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D42358-BA8C-44F9-BECA-061E4ACFB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83A427D2-4C08-45B8-A91B-3FE41F432C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1808163"/>
            <a:ext cx="7178675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18590422-9BE5-4289-94F5-8531586DFCD8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6350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B55FE80-6286-289B-DD1E-C57D0B5F51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6729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B55FE80-6286-289B-DD1E-C57D0B5F5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32" name="Pladsholder til tekst 31">
            <a:extLst>
              <a:ext uri="{FF2B5EF4-FFF2-40B4-BE49-F238E27FC236}">
                <a16:creationId xmlns:a16="http://schemas.microsoft.com/office/drawing/2014/main" id="{BA3D0DD0-91F8-4803-BD5E-DEFAF18680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7116237" cy="6858000"/>
          </a:xfrm>
          <a:custGeom>
            <a:avLst/>
            <a:gdLst>
              <a:gd name="connsiteX0" fmla="*/ 0 w 7116237"/>
              <a:gd name="connsiteY0" fmla="*/ 0 h 6858000"/>
              <a:gd name="connsiteX1" fmla="*/ 7116237 w 7116237"/>
              <a:gd name="connsiteY1" fmla="*/ 0 h 6858000"/>
              <a:gd name="connsiteX2" fmla="*/ 5150734 w 7116237"/>
              <a:gd name="connsiteY2" fmla="*/ 6858000 h 6858000"/>
              <a:gd name="connsiteX3" fmla="*/ 0 w 711623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6237" h="6858000">
                <a:moveTo>
                  <a:pt x="0" y="0"/>
                </a:moveTo>
                <a:lnTo>
                  <a:pt x="7116237" y="0"/>
                </a:lnTo>
                <a:lnTo>
                  <a:pt x="515073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9BC18D5D-BEB9-4927-939D-CB0865E74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5425"/>
            <a:ext cx="5113337" cy="1310480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C9E9BA6B-A909-4C0A-8466-CD595BEE7A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70CCB88D-D695-4EB7-926A-A112876360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82663" y="1808163"/>
            <a:ext cx="4168071" cy="43576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C96493EE-CEB4-4D66-95C2-0B294097E5C1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7771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g indhold i 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6E8AE74-7B17-EDE3-BB81-AD934018C7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8012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6E8AE74-7B17-EDE3-BB81-AD934018C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08163"/>
            <a:ext cx="5257189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99850" y="1808163"/>
            <a:ext cx="5257189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668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931" userDrawn="1">
          <p15:clr>
            <a:srgbClr val="FBAE40"/>
          </p15:clr>
        </p15:guide>
        <p15:guide id="4" pos="415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i 3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87B03DB-BAEC-5561-E2F2-6CA14020B0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8196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87B03DB-BAEC-5561-E2F2-6CA14020B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27455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472247" y="1808163"/>
            <a:ext cx="3384792" cy="4357688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172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 userDrawn="1">
          <p15:clr>
            <a:srgbClr val="FBAE40"/>
          </p15:clr>
        </p15:guide>
        <p15:guide id="2" pos="2978" userDrawn="1">
          <p15:clr>
            <a:srgbClr val="FBAE40"/>
          </p15:clr>
        </p15:guide>
        <p15:guide id="3" pos="5110" userDrawn="1">
          <p15:clr>
            <a:srgbClr val="FBAE40"/>
          </p15:clr>
        </p15:guide>
        <p15:guide id="4" pos="533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i 4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407E8C6-0376-2DE4-3C8E-914D1A021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9182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407E8C6-0376-2DE4-3C8E-914D1A021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99851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08445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6A45B6CB-352F-4E32-AF69-C299C10A51C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791257" y="1808163"/>
            <a:ext cx="2448594" cy="4357687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015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2" userDrawn="1">
          <p15:clr>
            <a:srgbClr val="FBAE40"/>
          </p15:clr>
        </p15:guide>
        <p15:guide id="2" pos="2387" userDrawn="1">
          <p15:clr>
            <a:srgbClr val="FBAE40"/>
          </p15:clr>
        </p15:guide>
        <p15:guide id="3" pos="5700" userDrawn="1">
          <p15:clr>
            <a:srgbClr val="FBAE40"/>
          </p15:clr>
        </p15:guide>
        <p15:guide id="4" pos="5926" userDrawn="1">
          <p15:clr>
            <a:srgbClr val="FBAE40"/>
          </p15:clr>
        </p15:guide>
        <p15:guide id="5" pos="3931" userDrawn="1">
          <p15:clr>
            <a:srgbClr val="FBAE40"/>
          </p15:clr>
        </p15:guide>
        <p15:guide id="6" pos="415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2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D0CD790-3C72-3174-9BB9-AAC04CCFE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2606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D0CD790-3C72-3174-9BB9-AAC04CCFEA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4167245"/>
            <a:ext cx="5257189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99850" y="4167245"/>
            <a:ext cx="5257189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CE05F4-9D00-4DC5-A363-94352566B1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5257189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9DDCD743-188F-4B86-8747-1E373705BA9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9850" y="1808163"/>
            <a:ext cx="5257189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2834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74" userDrawn="1">
          <p15:clr>
            <a:srgbClr val="FBAE40"/>
          </p15:clr>
        </p15:guide>
        <p15:guide id="2" pos="401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3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94B3E18-6AF9-96A9-7EF6-3F8F268D7B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032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94B3E18-6AF9-96A9-7EF6-3F8F268D7B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3B5719C-085D-4DC6-9B95-DE377476E7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5AC08FD-77C5-4D0A-B0AC-0870AB4D33C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27455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2A765D59-1E8F-45BF-9694-4433FBE0A6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472247" y="4167245"/>
            <a:ext cx="3384792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52179531-8123-4684-8DC8-C0C8F5375C2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86BB78F2-84F0-4A0A-9793-68171CF5E7E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27455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4377A560-23C0-491F-BDB7-C58123E772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472247" y="1808163"/>
            <a:ext cx="3384792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884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>
          <p15:clr>
            <a:srgbClr val="FBAE40"/>
          </p15:clr>
        </p15:guide>
        <p15:guide id="2" pos="2978">
          <p15:clr>
            <a:srgbClr val="FBAE40"/>
          </p15:clr>
        </p15:guide>
        <p15:guide id="3" pos="5110">
          <p15:clr>
            <a:srgbClr val="FBAE40"/>
          </p15:clr>
        </p15:guide>
        <p15:guide id="4" pos="53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4 x 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F67402E-0A98-654F-37FA-246E12DB1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810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F67402E-0A98-654F-37FA-246E12DB1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406E95-0077-466F-B205-C9B6361A1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F2ABF-793E-4952-8D26-BC977EB7C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F7E1B724-1863-4934-82EC-6D065E0A0F1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2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41975656-DFB7-4063-B691-5AD6F9E0901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91256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22C5418F-AF34-42EC-8A58-7BF2F892BD6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08445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AA708B7D-C86C-42CC-B31B-727B57E41D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2663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C2B809B3-8F1B-4F1D-9FFA-7FBAD2E26A4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791257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2E6382C7-BB6A-4A21-8265-F37ECCC6FF1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408445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826194ED-C5B4-4BF4-88B1-17C18E2D722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599851" y="4167245"/>
            <a:ext cx="2448594" cy="1999082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1807E5E9-1B45-4641-B765-AAEC167C62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599851" y="1808163"/>
            <a:ext cx="2448594" cy="199908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491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2">
          <p15:clr>
            <a:srgbClr val="FBAE40"/>
          </p15:clr>
        </p15:guide>
        <p15:guide id="2" pos="2387">
          <p15:clr>
            <a:srgbClr val="FBAE40"/>
          </p15:clr>
        </p15:guide>
        <p15:guide id="3" pos="5700">
          <p15:clr>
            <a:srgbClr val="FBAE40"/>
          </p15:clr>
        </p15:guide>
        <p15:guide id="4" pos="5926">
          <p15:clr>
            <a:srgbClr val="FBAE40"/>
          </p15:clr>
        </p15:guide>
        <p15:guide id="5" pos="3931">
          <p15:clr>
            <a:srgbClr val="FBAE40"/>
          </p15:clr>
        </p15:guide>
        <p15:guide id="6" pos="415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F0513D3-A647-9A26-7977-459430610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169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F0513D3-A647-9A26-7977-459430610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36" name="Pladsholder til tekst 35">
            <a:extLst>
              <a:ext uri="{FF2B5EF4-FFF2-40B4-BE49-F238E27FC236}">
                <a16:creationId xmlns:a16="http://schemas.microsoft.com/office/drawing/2014/main" id="{E965B3AD-EE9F-4A21-8AAE-0CF487A6F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591" y="0"/>
            <a:ext cx="7116237" cy="5222096"/>
          </a:xfrm>
          <a:custGeom>
            <a:avLst/>
            <a:gdLst>
              <a:gd name="connsiteX0" fmla="*/ 0 w 7116237"/>
              <a:gd name="connsiteY0" fmla="*/ 0 h 5222096"/>
              <a:gd name="connsiteX1" fmla="*/ 7116237 w 7116237"/>
              <a:gd name="connsiteY1" fmla="*/ 0 h 5222096"/>
              <a:gd name="connsiteX2" fmla="*/ 5619584 w 7116237"/>
              <a:gd name="connsiteY2" fmla="*/ 5222096 h 5222096"/>
              <a:gd name="connsiteX3" fmla="*/ 0 w 7116237"/>
              <a:gd name="connsiteY3" fmla="*/ 5222096 h 5222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6237" h="5222096">
                <a:moveTo>
                  <a:pt x="0" y="0"/>
                </a:moveTo>
                <a:lnTo>
                  <a:pt x="7116237" y="0"/>
                </a:lnTo>
                <a:lnTo>
                  <a:pt x="5619584" y="5222096"/>
                </a:lnTo>
                <a:lnTo>
                  <a:pt x="0" y="522209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8" name="Pladsholder til tekst 27">
            <a:extLst>
              <a:ext uri="{FF2B5EF4-FFF2-40B4-BE49-F238E27FC236}">
                <a16:creationId xmlns:a16="http://schemas.microsoft.com/office/drawing/2014/main" id="{B631F2FF-4D98-41D0-99C3-F0535BA349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2663" y="893763"/>
            <a:ext cx="4595177" cy="2641917"/>
          </a:xfrm>
        </p:spPr>
        <p:txBody>
          <a:bodyPr/>
          <a:lstStyle>
            <a:lvl1pPr marL="165100" indent="-165100" rtl="0">
              <a:buNone/>
              <a:defRPr sz="2800" b="1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”Indsæt citat her – husk citationstegn før og efter citatet”</a:t>
            </a:r>
            <a:endParaRPr lang="en-US" dirty="0"/>
          </a:p>
        </p:txBody>
      </p:sp>
      <p:sp>
        <p:nvSpPr>
          <p:cNvPr id="29" name="Pladsholder til tekst 27">
            <a:extLst>
              <a:ext uri="{FF2B5EF4-FFF2-40B4-BE49-F238E27FC236}">
                <a16:creationId xmlns:a16="http://schemas.microsoft.com/office/drawing/2014/main" id="{7D86C3A8-CC69-48DD-A8AB-DA43FCA85F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663" y="3901123"/>
            <a:ext cx="4595177" cy="559117"/>
          </a:xfrm>
        </p:spPr>
        <p:txBody>
          <a:bodyPr anchor="b"/>
          <a:lstStyle>
            <a:lvl1pPr marL="0" indent="0" rtl="0">
              <a:buNone/>
              <a:defRPr sz="20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navn og titel</a:t>
            </a:r>
            <a:endParaRPr lang="en-US" dirty="0"/>
          </a:p>
        </p:txBody>
      </p:sp>
      <p:sp>
        <p:nvSpPr>
          <p:cNvPr id="30" name="Pladsholder til tekst 27">
            <a:extLst>
              <a:ext uri="{FF2B5EF4-FFF2-40B4-BE49-F238E27FC236}">
                <a16:creationId xmlns:a16="http://schemas.microsoft.com/office/drawing/2014/main" id="{AF9B4576-96C2-4288-8D1B-684C7112FC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2663" y="4496240"/>
            <a:ext cx="4595177" cy="559117"/>
          </a:xfrm>
        </p:spPr>
        <p:txBody>
          <a:bodyPr anchor="t"/>
          <a:lstStyle>
            <a:lvl1pPr marL="0" indent="0" rtl="0">
              <a:buNone/>
              <a:defRPr sz="20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virksomhed</a:t>
            </a:r>
            <a:endParaRPr lang="en-US" dirty="0"/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3F8274B9-A14B-4EF8-8547-543E8342075F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FBAD2409-8FA6-44A8-980A-AC5EF1EDB9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122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hvidt logo til mørk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26A0E6-6391-3B1A-8CE6-894498A6F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0874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26A0E6-6391-3B1A-8CE6-894498A6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5113337" cy="1661993"/>
          </a:xfrm>
        </p:spPr>
        <p:txBody>
          <a:bodyPr vert="horz">
            <a:noAutofit/>
          </a:bodyPr>
          <a:lstStyle>
            <a:lvl1pPr algn="l" rtl="0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5113337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8" name="Pladsholder til tekst 9">
            <a:extLst>
              <a:ext uri="{FF2B5EF4-FFF2-40B4-BE49-F238E27FC236}">
                <a16:creationId xmlns:a16="http://schemas.microsoft.com/office/drawing/2014/main" id="{16F701CD-4BAF-4794-A72E-193C61A403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22" name="TextBox 8">
            <a:extLst>
              <a:ext uri="{FF2B5EF4-FFF2-40B4-BE49-F238E27FC236}">
                <a16:creationId xmlns:a16="http://schemas.microsoft.com/office/drawing/2014/main" id="{7B05331B-4732-4B64-9AE5-022C6BC76C13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7190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tat med farvet baggr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C12F142-4E09-486C-70DF-B4359EB7A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3180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C12F142-4E09-486C-70DF-B4359EB7A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27">
            <a:extLst>
              <a:ext uri="{FF2B5EF4-FFF2-40B4-BE49-F238E27FC236}">
                <a16:creationId xmlns:a16="http://schemas.microsoft.com/office/drawing/2014/main" id="{EC54937F-5C47-47DE-BBED-0C6D35450F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2663" y="893763"/>
            <a:ext cx="9177337" cy="2641917"/>
          </a:xfrm>
        </p:spPr>
        <p:txBody>
          <a:bodyPr/>
          <a:lstStyle>
            <a:lvl1pPr marL="246063" indent="-246063" rtl="0">
              <a:buNone/>
              <a:defRPr sz="4800" b="1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”Indsæt citat her – husk citationstegn før og efter citatet”</a:t>
            </a:r>
            <a:endParaRPr lang="en-US" dirty="0"/>
          </a:p>
        </p:txBody>
      </p:sp>
      <p:sp>
        <p:nvSpPr>
          <p:cNvPr id="11" name="Pladsholder til tekst 27">
            <a:extLst>
              <a:ext uri="{FF2B5EF4-FFF2-40B4-BE49-F238E27FC236}">
                <a16:creationId xmlns:a16="http://schemas.microsoft.com/office/drawing/2014/main" id="{4214CA9E-C795-4866-9FF0-38C28911BB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663" y="3901123"/>
            <a:ext cx="9177337" cy="559117"/>
          </a:xfrm>
        </p:spPr>
        <p:txBody>
          <a:bodyPr anchor="b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Klik for at indsætte navn og titel</a:t>
            </a:r>
            <a:endParaRPr lang="en-US" dirty="0"/>
          </a:p>
        </p:txBody>
      </p:sp>
      <p:sp>
        <p:nvSpPr>
          <p:cNvPr id="12" name="Pladsholder til tekst 27">
            <a:extLst>
              <a:ext uri="{FF2B5EF4-FFF2-40B4-BE49-F238E27FC236}">
                <a16:creationId xmlns:a16="http://schemas.microsoft.com/office/drawing/2014/main" id="{C971CBE6-8195-46E1-AEA2-BD555ECCC0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2663" y="4496240"/>
            <a:ext cx="9177337" cy="559117"/>
          </a:xfrm>
        </p:spPr>
        <p:txBody>
          <a:bodyPr anchor="t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Virksomhed</a:t>
            </a:r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FA5094E7-11C9-418B-BA06-9C3719BEDDD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Pladsholder til tekst 9">
            <a:extLst>
              <a:ext uri="{FF2B5EF4-FFF2-40B4-BE49-F238E27FC236}">
                <a16:creationId xmlns:a16="http://schemas.microsoft.com/office/drawing/2014/main" id="{7903A596-7BB0-412B-B416-763BFCF93DA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36848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251417E-2501-E881-FC04-B6D712425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2435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251417E-2501-E881-FC04-B6D712425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9664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79916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 er vi ren energi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2B34963-242D-90C7-1E7A-AB958EBC24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9796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2B34963-242D-90C7-1E7A-AB958EBC2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B1EB893E-E72C-4865-BCEB-316B4E1923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21040" y="5739281"/>
            <a:ext cx="2404504" cy="166199"/>
          </a:xfrm>
        </p:spPr>
        <p:txBody>
          <a:bodyPr wrap="none" anchor="t">
            <a:spAutoFit/>
          </a:bodyPr>
          <a:lstStyle>
            <a:lvl1pPr marL="0" indent="0" algn="r" rtl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dsæt telefonnummer (+45 xxxx xxxx</a:t>
            </a:r>
            <a:endParaRPr lang="en-US" dirty="0"/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0361AE4B-7609-4632-9401-0DC42BA537BD}"/>
              </a:ext>
            </a:extLst>
          </p:cNvPr>
          <p:cNvSpPr txBox="1"/>
          <p:nvPr userDrawn="1"/>
        </p:nvSpPr>
        <p:spPr>
          <a:xfrm>
            <a:off x="9652758" y="5166816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 b="1">
                <a:solidFill>
                  <a:schemeClr val="bg1"/>
                </a:solidFill>
              </a:rPr>
              <a:t>NRGi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37E301B3-E7D6-40A4-963F-25C6883E5A50}"/>
              </a:ext>
            </a:extLst>
          </p:cNvPr>
          <p:cNvSpPr txBox="1"/>
          <p:nvPr userDrawn="1"/>
        </p:nvSpPr>
        <p:spPr>
          <a:xfrm>
            <a:off x="9652758" y="5536148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DK-8200 Aarhus N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E1A26097-CD01-4F99-BE32-FB4F5B7EEBCC}"/>
              </a:ext>
            </a:extLst>
          </p:cNvPr>
          <p:cNvSpPr txBox="1"/>
          <p:nvPr userDrawn="1"/>
        </p:nvSpPr>
        <p:spPr>
          <a:xfrm>
            <a:off x="9652758" y="6090146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NRGi.dk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5A838974-69ED-4C19-A90E-05DBD42D201D}"/>
              </a:ext>
            </a:extLst>
          </p:cNvPr>
          <p:cNvSpPr txBox="1"/>
          <p:nvPr userDrawn="1"/>
        </p:nvSpPr>
        <p:spPr>
          <a:xfrm>
            <a:off x="9652758" y="5351482"/>
            <a:ext cx="1972786" cy="184666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algn="r" rtl="0"/>
            <a:r>
              <a:rPr lang="en-US" sz="1200">
                <a:solidFill>
                  <a:schemeClr val="bg1"/>
                </a:solidFill>
              </a:rPr>
              <a:t>Dusager 22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2" name="Pladsholder til tekst 9">
            <a:extLst>
              <a:ext uri="{FF2B5EF4-FFF2-40B4-BE49-F238E27FC236}">
                <a16:creationId xmlns:a16="http://schemas.microsoft.com/office/drawing/2014/main" id="{A956F20C-AA17-48A2-83B5-1B535A9769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98121" y="5923947"/>
            <a:ext cx="1827423" cy="166199"/>
          </a:xfrm>
        </p:spPr>
        <p:txBody>
          <a:bodyPr wrap="none" anchor="t">
            <a:spAutoFit/>
          </a:bodyPr>
          <a:lstStyle>
            <a:lvl1pPr marL="0" indent="0" algn="r" rtl="0">
              <a:buNone/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dsæt email (xxxx@nrgi.dk</a:t>
            </a:r>
            <a:r>
              <a:rPr lang="en-US" sz="1200">
                <a:solidFill>
                  <a:schemeClr val="bg1"/>
                </a:solidFill>
              </a:rPr>
              <a:t>)</a:t>
            </a:r>
            <a:endParaRPr lang="en-US" dirty="0"/>
          </a:p>
        </p:txBody>
      </p:sp>
      <p:sp>
        <p:nvSpPr>
          <p:cNvPr id="37" name="Pladsholder til slidenummer 36">
            <a:extLst>
              <a:ext uri="{FF2B5EF4-FFF2-40B4-BE49-F238E27FC236}">
                <a16:creationId xmlns:a16="http://schemas.microsoft.com/office/drawing/2014/main" id="{DBA9BEEB-9A9C-4E0D-B111-7218E5CD52D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Pladsholder til tekst 9">
            <a:extLst>
              <a:ext uri="{FF2B5EF4-FFF2-40B4-BE49-F238E27FC236}">
                <a16:creationId xmlns:a16="http://schemas.microsoft.com/office/drawing/2014/main" id="{11958930-3179-4A2E-8155-875EC59FE5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7C095F8-A024-4A35-99AE-5042B63313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4963" y="2541949"/>
            <a:ext cx="11522075" cy="1112951"/>
          </a:xfrm>
        </p:spPr>
        <p:txBody>
          <a:bodyPr anchor="b"/>
          <a:lstStyle>
            <a:lvl1pPr marL="0" indent="0" algn="ctr" rtl="0">
              <a:buNone/>
              <a:defRPr sz="60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Klik for at redigere teksttypografierne i master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1936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grønt logo til lys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3B33204-4D07-26B3-C91D-431E834A32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419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3B33204-4D07-26B3-C91D-431E834A32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791648"/>
            <a:ext cx="5113337" cy="1661993"/>
          </a:xfrm>
        </p:spPr>
        <p:txBody>
          <a:bodyPr vert="horz">
            <a:noAutofit/>
          </a:bodyPr>
          <a:lstStyle>
            <a:lvl1pPr algn="l" rtl="0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2663" y="2813641"/>
            <a:ext cx="5113337" cy="1752600"/>
          </a:xfrm>
        </p:spPr>
        <p:txBody>
          <a:bodyPr/>
          <a:lstStyle>
            <a:lvl1pPr marL="0" indent="0" algn="l" rtl="0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Klik for at redigere undertiteltypografien i masteren</a:t>
            </a:r>
            <a:endParaRPr lang="en-US" noProof="0" dirty="0"/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D3B39772-6EF8-414F-B8CA-9572DA8DE679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12003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Pladsholder til tekst 9">
            <a:extLst>
              <a:ext uri="{FF2B5EF4-FFF2-40B4-BE49-F238E27FC236}">
                <a16:creationId xmlns:a16="http://schemas.microsoft.com/office/drawing/2014/main" id="{64FB9D14-6354-4776-99DE-6F2AC7FCCC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3175" y="5600283"/>
            <a:ext cx="3954771" cy="632877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9427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fuld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E13597B-E899-28DA-2685-B261BE4EC7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8915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E13597B-E899-28DA-2685-B261BE4EC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664A79-AA13-4A0D-8520-A81F23F58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 algn="ctr" rtl="0">
              <a:buNone/>
              <a:defRPr i="1"/>
            </a:lvl1pPr>
          </a:lstStyle>
          <a:p>
            <a:r>
              <a:rPr lang="en-US"/>
              <a:t>Klik på ikonet for at tilføje et billed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3E26791D-912A-4A89-B575-16A619848A0E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29700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Indsæt et billede</a:t>
            </a:r>
          </a:p>
          <a:p>
            <a:pPr marL="182563" indent="-182563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n grå billedpladsholder og vælg </a:t>
            </a:r>
            <a:r>
              <a:rPr lang="en-US" sz="1000" b="1">
                <a:solidFill>
                  <a:schemeClr val="accent1"/>
                </a:solidFill>
              </a:rPr>
              <a:t>Placer forres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</a:p>
          <a:p>
            <a:pPr marL="0" indent="0" rtl="0">
              <a:buFont typeface="+mj-lt"/>
              <a:buNone/>
            </a:pPr>
            <a:endParaRPr lang="en-US" sz="1000" b="1">
              <a:solidFill>
                <a:schemeClr val="accent1"/>
              </a:solidFill>
            </a:endParaRPr>
          </a:p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Udskift et eksisterende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Marker billedet og slet det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Klik på billedikonet </a:t>
            </a:r>
            <a:br>
              <a:rPr lang="en-US" sz="1000" b="0">
                <a:solidFill>
                  <a:schemeClr val="accent1"/>
                </a:solidFill>
              </a:rPr>
            </a:br>
            <a:r>
              <a:rPr lang="en-US" sz="1000" b="0">
                <a:solidFill>
                  <a:schemeClr val="accent1"/>
                </a:solidFill>
              </a:rPr>
              <a:t>og vælg et nyt billed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Højreklik på det nye billede og vælg </a:t>
            </a:r>
            <a:r>
              <a:rPr lang="en-US" sz="1000" b="1">
                <a:solidFill>
                  <a:schemeClr val="accent1"/>
                </a:solidFill>
              </a:rPr>
              <a:t>Placer bagest </a:t>
            </a:r>
            <a:r>
              <a:rPr lang="en-US" sz="1000" b="0">
                <a:solidFill>
                  <a:schemeClr val="accent1"/>
                </a:solidFill>
              </a:rPr>
              <a:t>(så tekst m.v. igen bliver synligt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2764203"/>
            <a:ext cx="11522075" cy="1329595"/>
          </a:xfrm>
        </p:spPr>
        <p:txBody>
          <a:bodyPr vert="horz" anchor="ctr">
            <a:noAutofit/>
          </a:bodyPr>
          <a:lstStyle>
            <a:lvl1pPr algn="ctr" rtl="0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Breaker – klik for at redigere titeltypografien i masteren</a:t>
            </a:r>
            <a:endParaRPr lang="en-US" noProof="0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4E5F478B-2AF2-4DD2-BB59-3896063720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6308725"/>
            <a:ext cx="1965316" cy="314508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74086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fa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9A314B-22AD-EFCE-EA25-5C90DBDE9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483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9A314B-22AD-EFCE-EA25-5C90DBDE9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963" y="2764203"/>
            <a:ext cx="11522075" cy="1329595"/>
          </a:xfrm>
        </p:spPr>
        <p:txBody>
          <a:bodyPr vert="horz" anchor="ctr">
            <a:noAutofit/>
          </a:bodyPr>
          <a:lstStyle>
            <a:lvl1pPr algn="ctr" rtl="0"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Breaker – klik for at redigere titeltypografien i master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32" name="TextBox 8">
            <a:extLst>
              <a:ext uri="{FF2B5EF4-FFF2-40B4-BE49-F238E27FC236}">
                <a16:creationId xmlns:a16="http://schemas.microsoft.com/office/drawing/2014/main" id="{A3BB2A3B-E5DD-409B-948F-9E8E9C0DE4C3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Skift baggrundsfarv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Gå til Design menuen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Vælg Formatér baggrund (længst til højre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33" name="Billede 32">
            <a:extLst>
              <a:ext uri="{FF2B5EF4-FFF2-40B4-BE49-F238E27FC236}">
                <a16:creationId xmlns:a16="http://schemas.microsoft.com/office/drawing/2014/main" id="{199B2DD0-AF0F-450E-8BC2-669B53CE4D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631316" y="788599"/>
            <a:ext cx="364375" cy="4618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4" name="TextBox 8">
            <a:extLst>
              <a:ext uri="{FF2B5EF4-FFF2-40B4-BE49-F238E27FC236}">
                <a16:creationId xmlns:a16="http://schemas.microsoft.com/office/drawing/2014/main" id="{D8329A9B-7465-4D18-8C10-A6F4DC3954EC}"/>
              </a:ext>
            </a:extLst>
          </p:cNvPr>
          <p:cNvSpPr txBox="1">
            <a:spLocks/>
          </p:cNvSpPr>
          <p:nvPr userDrawn="1"/>
        </p:nvSpPr>
        <p:spPr>
          <a:xfrm>
            <a:off x="-1819276" y="1414427"/>
            <a:ext cx="175836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8913" rtl="0">
              <a:buFont typeface="+mj-lt"/>
              <a:buAutoNum type="arabicPeriod" startAt="3"/>
            </a:pPr>
            <a:r>
              <a:rPr lang="en-US" sz="1000" b="0">
                <a:solidFill>
                  <a:schemeClr val="accent1"/>
                </a:solidFill>
              </a:rPr>
              <a:t>Vælg en anden NRGi brandfarve fra den øverste række i Temafarver eller fra Brugerdefinerede farver: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35" name="Billede 34">
            <a:extLst>
              <a:ext uri="{FF2B5EF4-FFF2-40B4-BE49-F238E27FC236}">
                <a16:creationId xmlns:a16="http://schemas.microsoft.com/office/drawing/2014/main" id="{6D1350DD-259B-45C3-B163-F3CA3EC736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85" r="23553"/>
          <a:stretch/>
        </p:blipFill>
        <p:spPr>
          <a:xfrm>
            <a:off x="-1631315" y="2038250"/>
            <a:ext cx="1204596" cy="1211163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BD7F83F9-AECA-46E1-AEE8-CF54361FD73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111560" y="3069947"/>
            <a:ext cx="999851" cy="2459634"/>
          </a:xfrm>
          <a:prstGeom prst="rect">
            <a:avLst/>
          </a:prstGeom>
        </p:spPr>
      </p:pic>
      <p:sp>
        <p:nvSpPr>
          <p:cNvPr id="12" name="Pladsholder til tekst 9">
            <a:extLst>
              <a:ext uri="{FF2B5EF4-FFF2-40B4-BE49-F238E27FC236}">
                <a16:creationId xmlns:a16="http://schemas.microsoft.com/office/drawing/2014/main" id="{7D216729-A8D1-4335-BE16-89F4384AC4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479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39A8324-4EAB-D001-BF91-8F238CF852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2654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39A8324-4EAB-D001-BF91-8F238CF852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2C1918C-9363-4876-BE81-A1CD339A2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1F8DDE5-E09E-4851-80C7-9117A55BB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529B0911-F7F1-4774-A696-6B9D2735D4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2213416"/>
            <a:ext cx="4584700" cy="3029143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6" name="Pladsholder til tekst 11">
            <a:extLst>
              <a:ext uri="{FF2B5EF4-FFF2-40B4-BE49-F238E27FC236}">
                <a16:creationId xmlns:a16="http://schemas.microsoft.com/office/drawing/2014/main" id="{EAB1C4A3-F47C-4231-AAC2-76E60133E4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65865" y="2213416"/>
            <a:ext cx="4584700" cy="3029143"/>
          </a:xfrm>
        </p:spPr>
        <p:txBody>
          <a:bodyPr>
            <a:noAutofit/>
          </a:bodyPr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93B756E9-F541-497F-92B6-1332822426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11214" y="2213417"/>
            <a:ext cx="10800" cy="3029143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/>
            </a:lvl1pPr>
            <a:lvl2pPr marL="179025" indent="0">
              <a:buNone/>
              <a:defRPr/>
            </a:lvl2pPr>
            <a:lvl3pPr marL="359025" indent="0">
              <a:buNone/>
              <a:defRPr/>
            </a:lvl3pPr>
            <a:lvl4pPr marL="540000" indent="0">
              <a:buNone/>
              <a:defRPr/>
            </a:lvl4pPr>
            <a:lvl5pPr marL="719025" indent="0">
              <a:buNone/>
              <a:defRPr/>
            </a:lvl5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20" name="Pladsholder til tekst 18">
            <a:extLst>
              <a:ext uri="{FF2B5EF4-FFF2-40B4-BE49-F238E27FC236}">
                <a16:creationId xmlns:a16="http://schemas.microsoft.com/office/drawing/2014/main" id="{526EFD36-E395-47FA-A4C9-907A4C9484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4415" y="2213417"/>
            <a:ext cx="10800" cy="3029143"/>
          </a:xfrm>
          <a:solidFill>
            <a:schemeClr val="accent1"/>
          </a:solidFill>
        </p:spPr>
        <p:txBody>
          <a:bodyPr/>
          <a:lstStyle>
            <a:lvl1pPr marL="0" indent="0" rtl="0">
              <a:buNone/>
              <a:defRPr/>
            </a:lvl1pPr>
            <a:lvl2pPr marL="179025" indent="0">
              <a:buNone/>
              <a:defRPr/>
            </a:lvl2pPr>
            <a:lvl3pPr marL="359025" indent="0">
              <a:buNone/>
              <a:defRPr/>
            </a:lvl3pPr>
            <a:lvl4pPr marL="540000" indent="0">
              <a:buNone/>
              <a:defRPr/>
            </a:lvl4pPr>
            <a:lvl5pPr marL="719025" indent="0">
              <a:buNone/>
              <a:defRPr/>
            </a:lvl5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1344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g indhold med farvet baggr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8E3A7EA-62A4-417F-AC41-59F565D68C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915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8E3A7EA-62A4-417F-AC41-59F565D68C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71330B-AAC6-4622-ACF3-38A722115B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13561"/>
            <a:ext cx="7958137" cy="4352290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CDB01046-B639-4C51-B121-93BF127467C5}"/>
              </a:ext>
            </a:extLst>
          </p:cNvPr>
          <p:cNvSpPr txBox="1">
            <a:spLocks/>
          </p:cNvSpPr>
          <p:nvPr userDrawn="1"/>
        </p:nvSpPr>
        <p:spPr>
          <a:xfrm>
            <a:off x="-1819276" y="31069"/>
            <a:ext cx="1758367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buNone/>
            </a:pPr>
            <a:r>
              <a:rPr lang="en-US" sz="1000" b="1">
                <a:solidFill>
                  <a:schemeClr val="accent1"/>
                </a:solidFill>
              </a:rPr>
              <a:t>Skift baggrundsfarve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Gå til Design menuen</a:t>
            </a:r>
          </a:p>
          <a:p>
            <a:pPr marL="177800" indent="-180000" rtl="0">
              <a:buFont typeface="+mj-lt"/>
              <a:buAutoNum type="arabicPeriod"/>
            </a:pPr>
            <a:r>
              <a:rPr lang="en-US" sz="1000" b="0">
                <a:solidFill>
                  <a:schemeClr val="accent1"/>
                </a:solidFill>
              </a:rPr>
              <a:t>Vælg Formatér baggrund (længst til højre)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86FC607F-A981-4CD2-B468-1AD8A292343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631316" y="788599"/>
            <a:ext cx="364375" cy="4618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8">
            <a:extLst>
              <a:ext uri="{FF2B5EF4-FFF2-40B4-BE49-F238E27FC236}">
                <a16:creationId xmlns:a16="http://schemas.microsoft.com/office/drawing/2014/main" id="{0941A88B-2C47-4D26-B718-CF388930B536}"/>
              </a:ext>
            </a:extLst>
          </p:cNvPr>
          <p:cNvSpPr txBox="1">
            <a:spLocks/>
          </p:cNvSpPr>
          <p:nvPr userDrawn="1"/>
        </p:nvSpPr>
        <p:spPr>
          <a:xfrm>
            <a:off x="-1819276" y="1414427"/>
            <a:ext cx="1758367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8913" rtl="0">
              <a:buFont typeface="+mj-lt"/>
              <a:buAutoNum type="arabicPeriod" startAt="3"/>
            </a:pPr>
            <a:r>
              <a:rPr lang="en-US" sz="1000" b="0">
                <a:solidFill>
                  <a:schemeClr val="accent1"/>
                </a:solidFill>
              </a:rPr>
              <a:t>Vælg en anden NRGi brandfarve fra den øverste række i Temafarver eller fra Brugerdefinerede farver:</a:t>
            </a:r>
            <a:endParaRPr lang="en-US" sz="1000" b="0" dirty="0">
              <a:solidFill>
                <a:schemeClr val="accent1"/>
              </a:solidFill>
            </a:endParaRP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7CEBFC1D-C250-413D-8E83-9AA4AD28DB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85" r="23553"/>
          <a:stretch/>
        </p:blipFill>
        <p:spPr>
          <a:xfrm>
            <a:off x="-1631315" y="2038250"/>
            <a:ext cx="1204596" cy="1211163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9AA83616-686F-4BA2-9DEF-C78B9BF290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111560" y="3069947"/>
            <a:ext cx="999851" cy="2459634"/>
          </a:xfrm>
          <a:prstGeom prst="rect">
            <a:avLst/>
          </a:prstGeom>
        </p:spPr>
      </p:pic>
      <p:sp>
        <p:nvSpPr>
          <p:cNvPr id="17" name="Pladsholder til slidenummer 16">
            <a:extLst>
              <a:ext uri="{FF2B5EF4-FFF2-40B4-BE49-F238E27FC236}">
                <a16:creationId xmlns:a16="http://schemas.microsoft.com/office/drawing/2014/main" id="{0496EE00-B7B1-4FBC-AE5D-1ED4C224E89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5C039EB7-1A5B-4652-B373-381F14A78A7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1905" y="6308725"/>
            <a:ext cx="1965316" cy="314508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8991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63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B7D2480-7036-710B-1778-3F9B8F5441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9601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B7D2480-7036-710B-1778-3F9B8F544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71330B-AAC6-4622-ACF3-38A722115B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808163"/>
            <a:ext cx="7958137" cy="43576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CD368082-6B4C-4E17-B467-EDE690A0632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694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3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 med lille marg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44E94A3-94F7-4876-BD09-C61C8FBD6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1998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44E94A3-94F7-4876-BD09-C61C8FBD67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DABB80B-B68E-403D-8533-538037F78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29827"/>
            <a:ext cx="10874375" cy="633379"/>
          </a:xfrm>
        </p:spPr>
        <p:txBody>
          <a:bodyPr vert="horz" anchor="t">
            <a:noAutofit/>
          </a:bodyPr>
          <a:lstStyle>
            <a:lvl1pPr rtl="0">
              <a:defRPr/>
            </a:lvl1pPr>
          </a:lstStyle>
          <a:p>
            <a:r>
              <a:rPr lang="en-US"/>
              <a:t>Klik for at redigere titeltypografien i masteren</a:t>
            </a:r>
            <a:endParaRPr lang="en-US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79AA1BE-5B22-4EEB-81F8-ABE92B61A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AE3E6A7E-4961-403F-A8EA-EB08707ECA2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10874375" cy="507722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753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DE25FA5-E514-CFB8-9A3C-3E423FEA6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051178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47" imgH="348" progId="TCLayout.ActiveDocument.1">
                  <p:embed/>
                </p:oleObj>
              </mc:Choice>
              <mc:Fallback>
                <p:oleObj name="think-cell Slide" r:id="rId26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DE25FA5-E514-CFB8-9A3C-3E423FEA6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243409"/>
            <a:ext cx="10874375" cy="129249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/>
              <a:t>Klik for at redigere titeltypografien i masteren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1813561"/>
            <a:ext cx="10874375" cy="43522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Klik for at redigere teksttypografierne i masteren</a:t>
            </a:r>
          </a:p>
          <a:p>
            <a:pPr lvl="1"/>
            <a:r>
              <a:rPr lang="en-US" noProof="0"/>
              <a:t>Andet niveau</a:t>
            </a:r>
          </a:p>
          <a:p>
            <a:pPr lvl="2"/>
            <a:r>
              <a:rPr lang="en-US" noProof="0"/>
              <a:t>Tredje niveau</a:t>
            </a:r>
          </a:p>
          <a:p>
            <a:pPr lvl="3"/>
            <a:r>
              <a:rPr lang="en-US" noProof="0"/>
              <a:t>Fjerde niveau</a:t>
            </a:r>
          </a:p>
          <a:p>
            <a:pPr lvl="4"/>
            <a:r>
              <a:rPr lang="en-US" noProof="0"/>
              <a:t>Femte niveau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57940" y="6443507"/>
            <a:ext cx="399097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defRPr sz="1200">
                <a:solidFill>
                  <a:schemeClr val="accent1"/>
                </a:solidFill>
              </a:defRPr>
            </a:lvl1pPr>
          </a:lstStyle>
          <a:p>
            <a:fld id="{4803DD7B-12C8-43B8-9F45-989336E7974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Pladsholder til tekst 9">
            <a:extLst>
              <a:ext uri="{FF2B5EF4-FFF2-40B4-BE49-F238E27FC236}">
                <a16:creationId xmlns:a16="http://schemas.microsoft.com/office/drawing/2014/main" id="{41CBECE6-4121-4040-93C2-1D43AFE5C05D}"/>
              </a:ext>
            </a:extLst>
          </p:cNvPr>
          <p:cNvSpPr txBox="1">
            <a:spLocks/>
          </p:cNvSpPr>
          <p:nvPr userDrawn="1"/>
        </p:nvSpPr>
        <p:spPr>
          <a:xfrm>
            <a:off x="-1905" y="6308725"/>
            <a:ext cx="1965316" cy="314508"/>
          </a:xfrm>
          <a:prstGeom prst="rect">
            <a:avLst/>
          </a:prstGeom>
          <a:blipFill dpi="0" rotWithShape="1"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341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3" r:id="rId2"/>
    <p:sldLayoutId id="2147483673" r:id="rId3"/>
    <p:sldLayoutId id="2147483675" r:id="rId4"/>
    <p:sldLayoutId id="2147483676" r:id="rId5"/>
    <p:sldLayoutId id="2147483691" r:id="rId6"/>
    <p:sldLayoutId id="2147483677" r:id="rId7"/>
    <p:sldLayoutId id="2147483650" r:id="rId8"/>
    <p:sldLayoutId id="2147483692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61" r:id="rId16"/>
    <p:sldLayoutId id="2147483687" r:id="rId17"/>
    <p:sldLayoutId id="2147483688" r:id="rId18"/>
    <p:sldLayoutId id="2147483678" r:id="rId19"/>
    <p:sldLayoutId id="2147483679" r:id="rId20"/>
    <p:sldLayoutId id="2147483654" r:id="rId21"/>
    <p:sldLayoutId id="2147483655" r:id="rId22"/>
    <p:sldLayoutId id="2147483680" r:id="rId23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b="1" kern="1200" spc="1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6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00000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69" userDrawn="1">
          <p15:clr>
            <a:srgbClr val="F26B43"/>
          </p15:clr>
        </p15:guide>
        <p15:guide id="2" orient="horz" pos="970" userDrawn="1">
          <p15:clr>
            <a:srgbClr val="F26B43"/>
          </p15:clr>
        </p15:guide>
        <p15:guide id="3" orient="horz" pos="3884" userDrawn="1">
          <p15:clr>
            <a:srgbClr val="F26B43"/>
          </p15:clr>
        </p15:guide>
        <p15:guide id="5" orient="horz" pos="142" userDrawn="1">
          <p15:clr>
            <a:srgbClr val="F26B43"/>
          </p15:clr>
        </p15:guide>
        <p15:guide id="6" pos="619" userDrawn="1">
          <p15:clr>
            <a:srgbClr val="F26B43"/>
          </p15:clr>
        </p15:guide>
        <p15:guide id="7" orient="horz" pos="1139" userDrawn="1">
          <p15:clr>
            <a:srgbClr val="F26B43"/>
          </p15:clr>
        </p15:guide>
        <p15:guide id="8" pos="706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6.x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1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C5B1A34-4CF2-0504-3BE2-26A1E21AF6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3289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C5B1A34-4CF2-0504-3BE2-26A1E21AF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ladsholder til billede 43" descr="Et billede, der indeholder person&#10;&#10;Automatisk genereret beskrivelse">
            <a:extLst>
              <a:ext uri="{FF2B5EF4-FFF2-40B4-BE49-F238E27FC236}">
                <a16:creationId xmlns:a16="http://schemas.microsoft.com/office/drawing/2014/main" id="{300612C0-B09C-4184-9B47-184F0D0789C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/>
          <a:srcRect t="25726" r="60730" b="41124"/>
          <a:stretch/>
        </p:blipFill>
        <p:spPr>
          <a:xfrm>
            <a:off x="0" y="0"/>
            <a:ext cx="12192000" cy="6858000"/>
          </a:xfrm>
        </p:spPr>
      </p:pic>
      <p:sp>
        <p:nvSpPr>
          <p:cNvPr id="54" name="Titel 53">
            <a:extLst>
              <a:ext uri="{FF2B5EF4-FFF2-40B4-BE49-F238E27FC236}">
                <a16:creationId xmlns:a16="http://schemas.microsoft.com/office/drawing/2014/main" id="{80FB860F-3E3A-43EB-B273-14B2246A3D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2926385"/>
            <a:ext cx="5922339" cy="1661993"/>
          </a:xfrm>
        </p:spPr>
        <p:txBody>
          <a:bodyPr vert="horz"/>
          <a:lstStyle/>
          <a:p>
            <a:r>
              <a:rPr lang="en-US" dirty="0"/>
              <a:t>Statistical Risk Management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0B924460-1A6C-4030-8DE0-387B74186E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2663" y="4719353"/>
            <a:ext cx="6272716" cy="749955"/>
          </a:xfrm>
        </p:spPr>
        <p:txBody>
          <a:bodyPr/>
          <a:lstStyle/>
          <a:p>
            <a:r>
              <a:rPr lang="en-US" dirty="0"/>
              <a:t>Project-based Internship | Autumn 2023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8D4D0AD-0A75-4D15-8D92-457BD4B8F7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4816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86B848-EDE9-F4A9-108A-F58D243B5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5459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B86B848-EDE9-F4A9-108A-F58D243B5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ladsholder til billede 21" descr="Et billede, der indeholder person, mand, udendørs&#10;&#10;Automatisk genereret beskrivelse">
            <a:extLst>
              <a:ext uri="{FF2B5EF4-FFF2-40B4-BE49-F238E27FC236}">
                <a16:creationId xmlns:a16="http://schemas.microsoft.com/office/drawing/2014/main" id="{5CEAF9BE-0C77-42EF-A843-2DD67A37E7E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/>
          <a:srcRect l="13996" r="46840"/>
          <a:stretch/>
        </p:blipFill>
        <p:spPr>
          <a:xfrm>
            <a:off x="8161784" y="0"/>
            <a:ext cx="4030217" cy="6858000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C6F285B-6BE8-47BE-BAD4-8ACEEFC17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gend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DC222EA-31E5-4543-973D-6351289EEE35}"/>
              </a:ext>
            </a:extLst>
          </p:cNvPr>
          <p:cNvSpPr txBox="1">
            <a:spLocks/>
          </p:cNvSpPr>
          <p:nvPr/>
        </p:nvSpPr>
        <p:spPr>
          <a:xfrm>
            <a:off x="1899176" y="2359328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/>
              <a:t>Motivation</a:t>
            </a:r>
            <a:endParaRPr lang="en-US" dirty="0"/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F787AB7F-95DA-4686-8C4E-D8E93F97EFAD}"/>
              </a:ext>
            </a:extLst>
          </p:cNvPr>
          <p:cNvSpPr txBox="1">
            <a:spLocks/>
          </p:cNvSpPr>
          <p:nvPr/>
        </p:nvSpPr>
        <p:spPr>
          <a:xfrm>
            <a:off x="982663" y="2022279"/>
            <a:ext cx="700513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1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8" name="TextBox 5">
            <a:extLst>
              <a:ext uri="{FF2B5EF4-FFF2-40B4-BE49-F238E27FC236}">
                <a16:creationId xmlns:a16="http://schemas.microsoft.com/office/drawing/2014/main" id="{8E492FCB-C2C0-467D-A668-B1FD59DC4F32}"/>
              </a:ext>
            </a:extLst>
          </p:cNvPr>
          <p:cNvSpPr txBox="1">
            <a:spLocks/>
          </p:cNvSpPr>
          <p:nvPr/>
        </p:nvSpPr>
        <p:spPr>
          <a:xfrm>
            <a:off x="1899176" y="3036770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Preliminary Problems</a:t>
            </a:r>
          </a:p>
        </p:txBody>
      </p:sp>
      <p:sp>
        <p:nvSpPr>
          <p:cNvPr id="9" name="TextBox 5">
            <a:extLst>
              <a:ext uri="{FF2B5EF4-FFF2-40B4-BE49-F238E27FC236}">
                <a16:creationId xmlns:a16="http://schemas.microsoft.com/office/drawing/2014/main" id="{8140DF04-B4DC-4986-9C6D-DDE15FD1CA31}"/>
              </a:ext>
            </a:extLst>
          </p:cNvPr>
          <p:cNvSpPr txBox="1">
            <a:spLocks/>
          </p:cNvSpPr>
          <p:nvPr/>
        </p:nvSpPr>
        <p:spPr>
          <a:xfrm>
            <a:off x="992987" y="2699721"/>
            <a:ext cx="690189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2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CBA4467F-4AF6-4FDA-A3A1-6FFF686B5694}"/>
              </a:ext>
            </a:extLst>
          </p:cNvPr>
          <p:cNvSpPr txBox="1">
            <a:spLocks/>
          </p:cNvSpPr>
          <p:nvPr/>
        </p:nvSpPr>
        <p:spPr>
          <a:xfrm>
            <a:off x="1899176" y="3714212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Scientific Methods and Data</a:t>
            </a:r>
          </a:p>
        </p:txBody>
      </p:sp>
      <p:sp>
        <p:nvSpPr>
          <p:cNvPr id="11" name="TextBox 5">
            <a:extLst>
              <a:ext uri="{FF2B5EF4-FFF2-40B4-BE49-F238E27FC236}">
                <a16:creationId xmlns:a16="http://schemas.microsoft.com/office/drawing/2014/main" id="{8EF3D609-41B5-4A56-8942-7DC08C4DC25A}"/>
              </a:ext>
            </a:extLst>
          </p:cNvPr>
          <p:cNvSpPr txBox="1">
            <a:spLocks/>
          </p:cNvSpPr>
          <p:nvPr/>
        </p:nvSpPr>
        <p:spPr>
          <a:xfrm>
            <a:off x="1001002" y="3377163"/>
            <a:ext cx="682174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3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12" name="TextBox 5">
            <a:extLst>
              <a:ext uri="{FF2B5EF4-FFF2-40B4-BE49-F238E27FC236}">
                <a16:creationId xmlns:a16="http://schemas.microsoft.com/office/drawing/2014/main" id="{702BF8D8-1F1E-4939-B5E8-A6D1C6691326}"/>
              </a:ext>
            </a:extLst>
          </p:cNvPr>
          <p:cNvSpPr txBox="1">
            <a:spLocks/>
          </p:cNvSpPr>
          <p:nvPr/>
        </p:nvSpPr>
        <p:spPr>
          <a:xfrm>
            <a:off x="1899176" y="4391654"/>
            <a:ext cx="406400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Expected Output</a:t>
            </a:r>
          </a:p>
        </p:txBody>
      </p:sp>
      <p:sp>
        <p:nvSpPr>
          <p:cNvPr id="13" name="TextBox 5">
            <a:extLst>
              <a:ext uri="{FF2B5EF4-FFF2-40B4-BE49-F238E27FC236}">
                <a16:creationId xmlns:a16="http://schemas.microsoft.com/office/drawing/2014/main" id="{50C5CCBA-0874-4BEE-99C2-CC4082D3A1FF}"/>
              </a:ext>
            </a:extLst>
          </p:cNvPr>
          <p:cNvSpPr txBox="1">
            <a:spLocks/>
          </p:cNvSpPr>
          <p:nvPr/>
        </p:nvSpPr>
        <p:spPr>
          <a:xfrm>
            <a:off x="960221" y="4054605"/>
            <a:ext cx="722955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5400" b="1">
                <a:solidFill>
                  <a:schemeClr val="accent5"/>
                </a:solidFill>
              </a:rPr>
              <a:t>04</a:t>
            </a:r>
            <a:endParaRPr lang="en-US" sz="54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6215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5CA449-E3EB-0DD4-6908-6F7AA75DB9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222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25CA449-E3EB-0DD4-6908-6F7AA75DB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otivatio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The Contracting Division at ELCON is a large part of the business model and plays key role in the overall strategy. </a:t>
            </a:r>
          </a:p>
          <a:p>
            <a:pPr lvl="2"/>
            <a:r>
              <a:rPr lang="en-US" dirty="0"/>
              <a:t>At ELCON, contracting involves all the electrical work in building under construction, often involving fire systems, HVAC, and more.</a:t>
            </a:r>
          </a:p>
          <a:p>
            <a:pPr lvl="2"/>
            <a:r>
              <a:rPr lang="en-US" dirty="0"/>
              <a:t>ELCON is among four electrical contractors in Denmark who have the capacity to work on large projects spanning over several years. </a:t>
            </a:r>
          </a:p>
          <a:p>
            <a:r>
              <a:rPr lang="en-US" dirty="0"/>
              <a:t>Contracting accounts for 25% of total revenue and 43% of total EBIT.</a:t>
            </a:r>
          </a:p>
          <a:p>
            <a:pPr lvl="2"/>
            <a:r>
              <a:rPr lang="en-US" dirty="0"/>
              <a:t>Contracting is ripe with risk and the margin for error is small.</a:t>
            </a:r>
          </a:p>
          <a:p>
            <a:pPr lvl="2"/>
            <a:r>
              <a:rPr lang="en-US" dirty="0"/>
              <a:t>Contracting has great influence on ELCON’s finances.</a:t>
            </a:r>
          </a:p>
          <a:p>
            <a:r>
              <a:rPr lang="en-US" dirty="0"/>
              <a:t>Currently, there is no formal statistical model in place to evaluate these risks, and all risk assessments, provisions, and impairments are based on a subjective assessment in combination with fundamental calculation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7488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A4F5744-822E-272D-9EB9-E4CFFB864E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5886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A4F5744-822E-272D-9EB9-E4CFFB864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C946590A-DCFA-480E-9973-032781667CF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55664" y="2984011"/>
            <a:ext cx="2448594" cy="1295739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Identify Key Risk Indicators (KRIs)</a:t>
            </a:r>
          </a:p>
          <a:p>
            <a:pPr marL="0" indent="0">
              <a:buNone/>
            </a:pPr>
            <a:r>
              <a:rPr lang="en-US" sz="1600" dirty="0"/>
              <a:t>Identification of indicators is based on statistical analyses and a priori knowledge.</a:t>
            </a:r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BB313780-1FD1-47D9-8FAE-3FEDD5BED7B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620982" y="2984011"/>
            <a:ext cx="2448594" cy="2292935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Utilize Machine Learning Methods to Highlight Causal Effects</a:t>
            </a:r>
          </a:p>
          <a:p>
            <a:pPr marL="0" indent="0">
              <a:buNone/>
            </a:pPr>
            <a:r>
              <a:rPr lang="en-US" sz="1600" dirty="0"/>
              <a:t>Each project is unique and drawing on the benefits from ML allows for a standardized model capable of adapting to different circumstances. </a:t>
            </a:r>
            <a:endParaRPr lang="en-US" dirty="0"/>
          </a:p>
        </p:txBody>
      </p:sp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A26BD07B-B36A-46BD-8B09-8347D40D54E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439990" y="2984011"/>
            <a:ext cx="2448594" cy="2459135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Construct Dashboard with KPIs and KRIs of Risky Projects</a:t>
            </a:r>
          </a:p>
          <a:p>
            <a:pPr marL="0" indent="0">
              <a:buNone/>
            </a:pPr>
            <a:r>
              <a:rPr lang="en-US" sz="1600" dirty="0"/>
              <a:t>A simple dashboard allows for quick assessment and action. Interpretability is of the essence since the targeted end users are not required an in depth understanding of statistics.</a:t>
            </a:r>
            <a:endParaRPr lang="en-US" dirty="0"/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7A55C507-1CA4-403F-85AA-068A599400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773631" y="2984011"/>
            <a:ext cx="2448594" cy="1794337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Develop Time Series Model with Actuals, KPIs and KRIs</a:t>
            </a:r>
          </a:p>
          <a:p>
            <a:pPr marL="0" indent="0">
              <a:buNone/>
            </a:pPr>
            <a:r>
              <a:rPr lang="en-US" sz="1600" dirty="0"/>
              <a:t>A time series model is essential, since it allows project managers to monitor changes in a project.</a:t>
            </a: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FCC3E6C0-5D07-41B1-BF2D-D07463968082}"/>
              </a:ext>
            </a:extLst>
          </p:cNvPr>
          <p:cNvSpPr txBox="1">
            <a:spLocks/>
          </p:cNvSpPr>
          <p:nvPr/>
        </p:nvSpPr>
        <p:spPr>
          <a:xfrm>
            <a:off x="855664" y="2191849"/>
            <a:ext cx="455253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A</a:t>
            </a:r>
          </a:p>
        </p:txBody>
      </p:sp>
      <p:sp>
        <p:nvSpPr>
          <p:cNvPr id="11" name="TextBox 5 - 2">
            <a:extLst>
              <a:ext uri="{FF2B5EF4-FFF2-40B4-BE49-F238E27FC236}">
                <a16:creationId xmlns:a16="http://schemas.microsoft.com/office/drawing/2014/main" id="{F2D1ABE1-5DEA-4BC7-A383-C87624EBC8FE}"/>
              </a:ext>
            </a:extLst>
          </p:cNvPr>
          <p:cNvSpPr txBox="1">
            <a:spLocks/>
          </p:cNvSpPr>
          <p:nvPr/>
        </p:nvSpPr>
        <p:spPr>
          <a:xfrm>
            <a:off x="6620982" y="2191849"/>
            <a:ext cx="403957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>
                <a:solidFill>
                  <a:schemeClr val="accent5"/>
                </a:solidFill>
              </a:rPr>
              <a:t>C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12" name="TextBox 5 - 1">
            <a:extLst>
              <a:ext uri="{FF2B5EF4-FFF2-40B4-BE49-F238E27FC236}">
                <a16:creationId xmlns:a16="http://schemas.microsoft.com/office/drawing/2014/main" id="{2E5DBFB2-6254-4D85-BA12-9421EF5CB27B}"/>
              </a:ext>
            </a:extLst>
          </p:cNvPr>
          <p:cNvSpPr txBox="1">
            <a:spLocks/>
          </p:cNvSpPr>
          <p:nvPr/>
        </p:nvSpPr>
        <p:spPr>
          <a:xfrm>
            <a:off x="3773631" y="2191849"/>
            <a:ext cx="431208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 dirty="0">
                <a:solidFill>
                  <a:schemeClr val="accent5"/>
                </a:solidFill>
              </a:rPr>
              <a:t>B</a:t>
            </a:r>
          </a:p>
        </p:txBody>
      </p:sp>
      <p:sp>
        <p:nvSpPr>
          <p:cNvPr id="13" name="TextBox 5 - 3">
            <a:extLst>
              <a:ext uri="{FF2B5EF4-FFF2-40B4-BE49-F238E27FC236}">
                <a16:creationId xmlns:a16="http://schemas.microsoft.com/office/drawing/2014/main" id="{E13D7B49-6DD3-43C3-9A2E-E2BA90A74A41}"/>
              </a:ext>
            </a:extLst>
          </p:cNvPr>
          <p:cNvSpPr txBox="1">
            <a:spLocks/>
          </p:cNvSpPr>
          <p:nvPr/>
        </p:nvSpPr>
        <p:spPr>
          <a:xfrm>
            <a:off x="9439990" y="2191849"/>
            <a:ext cx="477695" cy="7478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5400" b="1">
                <a:solidFill>
                  <a:schemeClr val="accent5"/>
                </a:solidFill>
              </a:rPr>
              <a:t>D</a:t>
            </a:r>
            <a:endParaRPr lang="en-US" sz="5400" b="1" dirty="0">
              <a:solidFill>
                <a:schemeClr val="accent5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D5074D-D1F9-B9F7-DACD-88F097B4D5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243409"/>
            <a:ext cx="8303577" cy="1292496"/>
          </a:xfrm>
        </p:spPr>
        <p:txBody>
          <a:bodyPr vert="horz"/>
          <a:lstStyle/>
          <a:p>
            <a:r>
              <a:rPr lang="en-US" dirty="0"/>
              <a:t>Preliminary Problems</a:t>
            </a:r>
          </a:p>
        </p:txBody>
      </p:sp>
    </p:spTree>
    <p:extLst>
      <p:ext uri="{BB962C8B-B14F-4D97-AF65-F5344CB8AC3E}">
        <p14:creationId xmlns:p14="http://schemas.microsoft.com/office/powerpoint/2010/main" val="6375030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782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en-US" dirty="0"/>
              <a:t>Scientific Methods and Data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088631"/>
            <a:ext cx="4847686" cy="5077220"/>
          </a:xfrm>
        </p:spPr>
        <p:txBody>
          <a:bodyPr/>
          <a:lstStyle/>
          <a:p>
            <a:r>
              <a:rPr lang="en-US" dirty="0"/>
              <a:t>Principal Component Analysis</a:t>
            </a:r>
          </a:p>
          <a:p>
            <a:pPr lvl="1"/>
            <a:r>
              <a:rPr lang="en-US" sz="1600" dirty="0"/>
              <a:t>Reduce dimensions from the get-go and establish a more manageable dataset. </a:t>
            </a:r>
          </a:p>
          <a:p>
            <a:r>
              <a:rPr lang="en-US" dirty="0"/>
              <a:t>PLS-SEM</a:t>
            </a:r>
          </a:p>
          <a:p>
            <a:pPr lvl="1"/>
            <a:r>
              <a:rPr lang="en-US" sz="1600" dirty="0"/>
              <a:t>Maximizes the amount of variance explained.</a:t>
            </a:r>
          </a:p>
          <a:p>
            <a:pPr lvl="1"/>
            <a:r>
              <a:rPr lang="en-US" sz="1600" dirty="0"/>
              <a:t>Generates a Time Series Model to be used as input in RF.</a:t>
            </a:r>
            <a:endParaRPr lang="en-US" sz="1400" dirty="0"/>
          </a:p>
          <a:p>
            <a:r>
              <a:rPr lang="en-US" dirty="0"/>
              <a:t>Random Forest </a:t>
            </a:r>
          </a:p>
          <a:p>
            <a:pPr lvl="1"/>
            <a:r>
              <a:rPr lang="en-US" sz="1600" dirty="0"/>
              <a:t>Serves as a proof of concept for the use of Machine Learning Methods.</a:t>
            </a:r>
          </a:p>
          <a:p>
            <a:pPr lvl="1"/>
            <a:r>
              <a:rPr lang="en-US" sz="1600" dirty="0"/>
              <a:t>Performs Generalized Hyperparameter Optimization for later use.</a:t>
            </a:r>
          </a:p>
          <a:p>
            <a:r>
              <a:rPr lang="en-US" dirty="0"/>
              <a:t>AutoML</a:t>
            </a:r>
          </a:p>
          <a:p>
            <a:pPr lvl="1"/>
            <a:r>
              <a:rPr lang="en-US" sz="1600" dirty="0"/>
              <a:t>Blackbox ML allows ELCON to continue using the methods developed without expert knowledge of statistics and ML.</a:t>
            </a:r>
          </a:p>
          <a:p>
            <a:pPr lvl="1"/>
            <a:r>
              <a:rPr lang="en-US" sz="1600" dirty="0"/>
              <a:t>Uses Optimized Hyperparameters from RF.</a:t>
            </a:r>
          </a:p>
          <a:p>
            <a:pPr marL="0" indent="-1587">
              <a:buNone/>
            </a:pPr>
            <a:endParaRPr lang="en-US" sz="1400" dirty="0"/>
          </a:p>
          <a:p>
            <a:pPr lvl="1"/>
            <a:endParaRPr lang="en-US" sz="1600" dirty="0"/>
          </a:p>
        </p:txBody>
      </p:sp>
      <p:sp>
        <p:nvSpPr>
          <p:cNvPr id="3" name="Pladsholder til indhold 5">
            <a:extLst>
              <a:ext uri="{FF2B5EF4-FFF2-40B4-BE49-F238E27FC236}">
                <a16:creationId xmlns:a16="http://schemas.microsoft.com/office/drawing/2014/main" id="{DBBA62F8-ABAB-0796-5D4F-277CA4383CB2}"/>
              </a:ext>
            </a:extLst>
          </p:cNvPr>
          <p:cNvSpPr txBox="1">
            <a:spLocks/>
          </p:cNvSpPr>
          <p:nvPr/>
        </p:nvSpPr>
        <p:spPr>
          <a:xfrm>
            <a:off x="6361653" y="1088631"/>
            <a:ext cx="4847686" cy="50772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ime Series Data of each individual project.</a:t>
            </a:r>
          </a:p>
          <a:p>
            <a:pPr lvl="2"/>
            <a:r>
              <a:rPr lang="en-US" sz="1600" dirty="0"/>
              <a:t>Hours registered by individual workers</a:t>
            </a:r>
          </a:p>
          <a:p>
            <a:pPr lvl="2"/>
            <a:r>
              <a:rPr lang="en-US" sz="1600" dirty="0"/>
              <a:t>Materials purchased</a:t>
            </a:r>
          </a:p>
          <a:p>
            <a:pPr lvl="2"/>
            <a:r>
              <a:rPr lang="en-US" sz="1600" dirty="0"/>
              <a:t>Individuals Invoices</a:t>
            </a:r>
          </a:p>
          <a:p>
            <a:pPr lvl="2"/>
            <a:r>
              <a:rPr lang="en-US" sz="1600" dirty="0"/>
              <a:t>Budget from the tender process</a:t>
            </a:r>
          </a:p>
          <a:p>
            <a:r>
              <a:rPr lang="en-US" dirty="0"/>
              <a:t>Macroeconomic Data</a:t>
            </a:r>
          </a:p>
          <a:p>
            <a:pPr lvl="2"/>
            <a:r>
              <a:rPr lang="en-US" sz="1600" dirty="0"/>
              <a:t>Overall Sentiment</a:t>
            </a:r>
          </a:p>
          <a:p>
            <a:pPr lvl="2"/>
            <a:r>
              <a:rPr lang="en-US" sz="1600" dirty="0"/>
              <a:t>Interest Rate</a:t>
            </a:r>
          </a:p>
          <a:p>
            <a:pPr lvl="2"/>
            <a:r>
              <a:rPr lang="en-US" sz="1600" dirty="0"/>
              <a:t>Unemployment Rate</a:t>
            </a:r>
          </a:p>
          <a:p>
            <a:r>
              <a:rPr lang="en-US" dirty="0"/>
              <a:t>Industry Specific Data</a:t>
            </a:r>
          </a:p>
          <a:p>
            <a:pPr lvl="2"/>
            <a:r>
              <a:rPr lang="en-US" sz="1600" dirty="0"/>
              <a:t>Overall Activity</a:t>
            </a:r>
          </a:p>
          <a:p>
            <a:pPr lvl="2"/>
            <a:r>
              <a:rPr lang="en-US" sz="1600" dirty="0"/>
              <a:t>Order Backlog</a:t>
            </a:r>
          </a:p>
          <a:p>
            <a:pPr lvl="2"/>
            <a:r>
              <a:rPr lang="en-US" sz="1600" dirty="0"/>
              <a:t>Unemployment Rate</a:t>
            </a:r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5245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026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pected Output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Simple dashboard with KPIs and KRIs.</a:t>
            </a:r>
          </a:p>
          <a:p>
            <a:pPr lvl="2"/>
            <a:r>
              <a:rPr lang="en-US" dirty="0"/>
              <a:t>Automatic identification of risky projects.</a:t>
            </a:r>
          </a:p>
          <a:p>
            <a:pPr lvl="2"/>
            <a:r>
              <a:rPr lang="en-US" dirty="0"/>
              <a:t>Automatic identification of areas of improvement.</a:t>
            </a:r>
          </a:p>
          <a:p>
            <a:pPr lvl="2"/>
            <a:endParaRPr lang="en-US" dirty="0"/>
          </a:p>
          <a:p>
            <a:endParaRPr lang="en-US" dirty="0"/>
          </a:p>
        </p:txBody>
      </p:sp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4029F1DC-CF89-2E77-8726-6C47BC99DC3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97259452"/>
              </p:ext>
            </p:extLst>
          </p:nvPr>
        </p:nvGraphicFramePr>
        <p:xfrm>
          <a:off x="7308123" y="3187463"/>
          <a:ext cx="4548915" cy="34407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6" imgW="4105257" imgH="3104867" progId="AcroExch.Document.DC">
                  <p:embed/>
                </p:oleObj>
              </mc:Choice>
              <mc:Fallback>
                <p:oleObj name="Acrobat Document" r:id="rId6" imgW="4105257" imgH="3104867" progId="AcroExch.Document.DC">
                  <p:embed/>
                  <p:pic>
                    <p:nvPicPr>
                      <p:cNvPr id="3" name="Objekt 2">
                        <a:extLst>
                          <a:ext uri="{FF2B5EF4-FFF2-40B4-BE49-F238E27FC236}">
                            <a16:creationId xmlns:a16="http://schemas.microsoft.com/office/drawing/2014/main" id="{4029F1DC-CF89-2E77-8726-6C47BC99DC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308123" y="3187463"/>
                        <a:ext cx="4548915" cy="34407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900622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DD2181-28F2-62F9-AD4A-846375F1E9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6968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DD2181-28F2-62F9-AD4A-846375F1E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A4596F9-FF12-4BF0-8843-C701E1DB0B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2764203"/>
            <a:ext cx="11522075" cy="1329595"/>
          </a:xfrm>
        </p:spPr>
        <p:txBody>
          <a:bodyPr vert="horz"/>
          <a:lstStyle/>
          <a:p>
            <a:r>
              <a:rPr lang="en-US"/>
              <a:t>Breaker layout med farvet baggrund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97827C5-D366-43A9-BC56-60449466C6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2110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C05AFC-9555-D40C-AD9D-3E13BD0A4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8549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C05AFC-9555-D40C-AD9D-3E13BD0A4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A7B11F-5560-4450-B29C-AA36EE47D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itel og indhold med lille margin</a:t>
            </a:r>
            <a:endParaRPr lang="en-US" dirty="0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8FC4456C-8838-4F8B-8B1E-95CBD5B2E38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110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POWER_USER_PPT_AGENDA_PRESENTATION_COLOR_TAG" val="#006E6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RGi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t">
        <a:noAutofit/>
      </a:bodyPr>
      <a:lstStyle>
        <a:defPPr algn="l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mtClean="0">
            <a:solidFill>
              <a:schemeClr val="accent1"/>
            </a:solidFill>
          </a:defRPr>
        </a:defPPr>
      </a:lstStyle>
    </a:txDef>
  </a:objectDefaults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Powerpointskabelon_NRGi Elcon.pptx" id="{412641EB-9A04-4143-93A3-8ACC1CCD6C87}" vid="{A6BF625A-0080-43A5-9EBA-2F8D86D9ED34}"/>
    </a:ext>
  </a:extLst>
</a:theme>
</file>

<file path=ppt/theme/theme2.xml><?xml version="1.0" encoding="utf-8"?>
<a:theme xmlns:a="http://schemas.openxmlformats.org/drawingml/2006/main" name="Office Theme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210927_NRGi">
      <a:dk1>
        <a:sysClr val="windowText" lastClr="000000"/>
      </a:dk1>
      <a:lt1>
        <a:sysClr val="window" lastClr="FFFFFF"/>
      </a:lt1>
      <a:dk2>
        <a:srgbClr val="000000"/>
      </a:dk2>
      <a:lt2>
        <a:srgbClr val="BFBFBF"/>
      </a:lt2>
      <a:accent1>
        <a:srgbClr val="006E64"/>
      </a:accent1>
      <a:accent2>
        <a:srgbClr val="DCFAE9"/>
      </a:accent2>
      <a:accent3>
        <a:srgbClr val="004E4A"/>
      </a:accent3>
      <a:accent4>
        <a:srgbClr val="1E8C82"/>
      </a:accent4>
      <a:accent5>
        <a:srgbClr val="A1D9CC"/>
      </a:accent5>
      <a:accent6>
        <a:srgbClr val="C8F0E6"/>
      </a:accent6>
      <a:hlink>
        <a:srgbClr val="1E8C82"/>
      </a:hlink>
      <a:folHlink>
        <a:srgbClr val="A1D9CC"/>
      </a:folHlink>
    </a:clrScheme>
    <a:fontScheme name="210927_NRGi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 ">
      <a:srgbClr val="52D6A3"/>
    </a:custClr>
    <a:custClr name=" ">
      <a:srgbClr val="FFBB00"/>
    </a:custClr>
    <a:custClr name=" ">
      <a:srgbClr val="C17150"/>
    </a:custClr>
    <a:custClr name=" ">
      <a:srgbClr val="734848"/>
    </a:custClr>
    <a:custClr name=" ">
      <a:srgbClr val="000000"/>
    </a:custClr>
    <a:custClr name=" ">
      <a:srgbClr val="464655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97E6C8"/>
    </a:custClr>
    <a:custClr name=" ">
      <a:srgbClr val="FFD666"/>
    </a:custClr>
    <a:custClr name=" ">
      <a:srgbClr val="DAAA96"/>
    </a:custClr>
    <a:custClr name=" ">
      <a:srgbClr val="AB9191"/>
    </a:custClr>
    <a:custClr name=" ">
      <a:srgbClr val="666666"/>
    </a:custClr>
    <a:custClr name=" ">
      <a:srgbClr val="90909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BAEFDA"/>
    </a:custClr>
    <a:custClr name=" ">
      <a:srgbClr val="FFE499"/>
    </a:custClr>
    <a:custClr name=" ">
      <a:srgbClr val="E6C6B9"/>
    </a:custClr>
    <a:custClr name=" ">
      <a:srgbClr val="C7B6B6"/>
    </a:custClr>
    <a:custClr name=" ">
      <a:srgbClr val="999999"/>
    </a:custClr>
    <a:custClr name=" ">
      <a:srgbClr val="B5B5B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DCF7ED"/>
    </a:custClr>
    <a:custClr name=" ">
      <a:srgbClr val="FFF1CC"/>
    </a:custClr>
    <a:custClr name=" ">
      <a:srgbClr val="F3E3DC"/>
    </a:custClr>
    <a:custClr name=" ">
      <a:srgbClr val="E3DADA"/>
    </a:custClr>
    <a:custClr name=" ">
      <a:srgbClr val="CCCCCC"/>
    </a:custClr>
    <a:custClr name=" ">
      <a:srgbClr val="DADAD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7</TotalTime>
  <Words>457</Words>
  <Application>Microsoft Office PowerPoint</Application>
  <PresentationFormat>Widescreen</PresentationFormat>
  <Paragraphs>72</Paragraphs>
  <Slides>8</Slides>
  <Notes>8</Notes>
  <HiddenSlides>2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2</vt:i4>
      </vt:variant>
      <vt:variant>
        <vt:lpstr>Slidetitler</vt:lpstr>
      </vt:variant>
      <vt:variant>
        <vt:i4>8</vt:i4>
      </vt:variant>
    </vt:vector>
  </HeadingPairs>
  <TitlesOfParts>
    <vt:vector size="13" baseType="lpstr">
      <vt:lpstr>Arial</vt:lpstr>
      <vt:lpstr>Corbel</vt:lpstr>
      <vt:lpstr>NRGi</vt:lpstr>
      <vt:lpstr>think-cell Slide</vt:lpstr>
      <vt:lpstr>Acrobat Document</vt:lpstr>
      <vt:lpstr>Statistical Risk Management</vt:lpstr>
      <vt:lpstr>Agenda</vt:lpstr>
      <vt:lpstr>Motivation</vt:lpstr>
      <vt:lpstr>Preliminary Problems</vt:lpstr>
      <vt:lpstr>Scientific Methods and Data</vt:lpstr>
      <vt:lpstr>Expected Output</vt:lpstr>
      <vt:lpstr>Breaker layout med farvet baggrund</vt:lpstr>
      <vt:lpstr>Titel og indhold med lille margi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istisk Risikovurdering</dc:title>
  <dc:creator>Tobias Brammer</dc:creator>
  <cp:lastModifiedBy>Tobias Brammer</cp:lastModifiedBy>
  <cp:revision>1</cp:revision>
  <cp:lastPrinted>2021-01-06T12:41:59Z</cp:lastPrinted>
  <dcterms:created xsi:type="dcterms:W3CDTF">2023-02-21T13:26:08Z</dcterms:created>
  <dcterms:modified xsi:type="dcterms:W3CDTF">2023-03-02T07:08:52Z</dcterms:modified>
</cp:coreProperties>
</file>